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4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</p:sldMasterIdLst>
  <p:notesMasterIdLst>
    <p:notesMasterId r:id="rId18"/>
  </p:notesMasterIdLst>
  <p:sldIdLst>
    <p:sldId id="275" r:id="rId3"/>
    <p:sldId id="13488" r:id="rId4"/>
    <p:sldId id="13489" r:id="rId5"/>
    <p:sldId id="13490" r:id="rId6"/>
    <p:sldId id="13491" r:id="rId7"/>
    <p:sldId id="13503" r:id="rId8"/>
    <p:sldId id="13493" r:id="rId9"/>
    <p:sldId id="13494" r:id="rId10"/>
    <p:sldId id="13495" r:id="rId11"/>
    <p:sldId id="13496" r:id="rId12"/>
    <p:sldId id="13497" r:id="rId13"/>
    <p:sldId id="13498" r:id="rId14"/>
    <p:sldId id="13499" r:id="rId15"/>
    <p:sldId id="13500" r:id="rId16"/>
    <p:sldId id="13501" r:id="rId1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050"/>
    <a:srgbClr val="FF0000"/>
    <a:srgbClr val="E88C12"/>
    <a:srgbClr val="F3E7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764" autoAdjust="0"/>
    <p:restoredTop sz="95431" autoAdjust="0"/>
  </p:normalViewPr>
  <p:slideViewPr>
    <p:cSldViewPr snapToGrid="0" showGuides="1">
      <p:cViewPr varScale="1">
        <p:scale>
          <a:sx n="89" d="100"/>
          <a:sy n="89" d="100"/>
        </p:scale>
        <p:origin x="302" y="53"/>
      </p:cViewPr>
      <p:guideLst>
        <p:guide orient="horz" pos="2183"/>
        <p:guide pos="3863"/>
      </p:guideLst>
    </p:cSldViewPr>
  </p:slideViewPr>
  <p:outlineViewPr>
    <p:cViewPr>
      <p:scale>
        <a:sx n="33" d="100"/>
        <a:sy n="33" d="100"/>
      </p:scale>
      <p:origin x="0" y="-453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2700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d:\Users\dinghaochen\Desktop\&#25321;&#26102;&#25351;&#26631;&#20307;&#31995;\&#24773;&#32490;&#25351;&#26631;&#20998;&#25968;&#27719;&#24635;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d:\Users\dinghaochen\Desktop\&#25321;&#26102;&#25351;&#26631;&#20307;&#31995;\&#23439;&#35266;&#20307;&#31995;&#25171;&#20998;%20-%20&#30011;&#22270;&#29256;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___1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../embeddings/oleObject10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zh-CN" altLang="en-US"/>
              <a:t>情绪择时指标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5.2536285621905751E-2"/>
          <c:y val="4.6069581206413523E-2"/>
          <c:w val="0.9196658770290258"/>
          <c:h val="0.78235274511082609"/>
        </c:manualLayout>
      </c:layout>
      <c:lineChart>
        <c:grouping val="standard"/>
        <c:varyColors val="0"/>
        <c:ser>
          <c:idx val="0"/>
          <c:order val="0"/>
          <c:spPr>
            <a:ln w="19050">
              <a:solidFill>
                <a:srgbClr val="0070C0"/>
              </a:solidFill>
            </a:ln>
          </c:spPr>
          <c:marker>
            <c:symbol val="none"/>
          </c:marker>
          <c:cat>
            <c:strRef>
              <c:f>画图!$A$2:$A$226</c:f>
              <c:strCache>
                <c:ptCount val="225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  <c:pt idx="220">
                  <c:v>2025-12-01</c:v>
                </c:pt>
                <c:pt idx="221">
                  <c:v>2025-12-02</c:v>
                </c:pt>
                <c:pt idx="222">
                  <c:v>2025-12-03</c:v>
                </c:pt>
                <c:pt idx="223">
                  <c:v>2025-12-04</c:v>
                </c:pt>
                <c:pt idx="224">
                  <c:v>2025-12-05</c:v>
                </c:pt>
              </c:strCache>
            </c:strRef>
          </c:cat>
          <c:val>
            <c:numRef>
              <c:f>画图!$B$2:$B$226</c:f>
              <c:numCache>
                <c:formatCode>General</c:formatCode>
                <c:ptCount val="225"/>
                <c:pt idx="0">
                  <c:v>-1.3181818181818183</c:v>
                </c:pt>
                <c:pt idx="1">
                  <c:v>-1.1071428571428572</c:v>
                </c:pt>
                <c:pt idx="2">
                  <c:v>0.25649350649350655</c:v>
                </c:pt>
                <c:pt idx="3">
                  <c:v>-5.194805194805209E-2</c:v>
                </c:pt>
                <c:pt idx="4">
                  <c:v>-3.2467532467532123E-3</c:v>
                </c:pt>
                <c:pt idx="5">
                  <c:v>4.5454545454545477E-2</c:v>
                </c:pt>
                <c:pt idx="6">
                  <c:v>0.64610389610389607</c:v>
                </c:pt>
                <c:pt idx="7">
                  <c:v>0.73538961038961037</c:v>
                </c:pt>
                <c:pt idx="8">
                  <c:v>1.3441558441558439</c:v>
                </c:pt>
                <c:pt idx="9">
                  <c:v>0.99512987012987009</c:v>
                </c:pt>
                <c:pt idx="10">
                  <c:v>0.93831168831168821</c:v>
                </c:pt>
                <c:pt idx="11">
                  <c:v>0.23214285714285712</c:v>
                </c:pt>
                <c:pt idx="12">
                  <c:v>0.20779220779220786</c:v>
                </c:pt>
                <c:pt idx="13">
                  <c:v>0.15909090909090898</c:v>
                </c:pt>
                <c:pt idx="14">
                  <c:v>0.12662337662337672</c:v>
                </c:pt>
                <c:pt idx="15">
                  <c:v>9.4155844155844104E-2</c:v>
                </c:pt>
                <c:pt idx="16">
                  <c:v>8.6038961038961068E-2</c:v>
                </c:pt>
                <c:pt idx="17">
                  <c:v>-0.31168831168831168</c:v>
                </c:pt>
                <c:pt idx="18">
                  <c:v>-0.32792207792207789</c:v>
                </c:pt>
                <c:pt idx="19">
                  <c:v>-0.79220779220779225</c:v>
                </c:pt>
                <c:pt idx="20">
                  <c:v>-1.8311688311688312</c:v>
                </c:pt>
                <c:pt idx="21">
                  <c:v>-0.32954545454545464</c:v>
                </c:pt>
                <c:pt idx="22">
                  <c:v>-0.71103896103896091</c:v>
                </c:pt>
                <c:pt idx="23">
                  <c:v>-0.73538961038961037</c:v>
                </c:pt>
                <c:pt idx="24">
                  <c:v>-0.75974025974025972</c:v>
                </c:pt>
                <c:pt idx="25">
                  <c:v>-0.75162337662337653</c:v>
                </c:pt>
                <c:pt idx="26">
                  <c:v>-0.8571428571428571</c:v>
                </c:pt>
                <c:pt idx="27">
                  <c:v>-1.4659090909090906</c:v>
                </c:pt>
                <c:pt idx="28">
                  <c:v>-1.4253246753246755</c:v>
                </c:pt>
                <c:pt idx="29">
                  <c:v>-1.4821428571428574</c:v>
                </c:pt>
                <c:pt idx="30">
                  <c:v>-1.6850649350649352</c:v>
                </c:pt>
                <c:pt idx="31">
                  <c:v>-1.5064935064935063</c:v>
                </c:pt>
                <c:pt idx="32">
                  <c:v>-1.125</c:v>
                </c:pt>
                <c:pt idx="33">
                  <c:v>-1.6525974025974026</c:v>
                </c:pt>
                <c:pt idx="34">
                  <c:v>-1.4253246753246753</c:v>
                </c:pt>
                <c:pt idx="35">
                  <c:v>-1.4902597402597402</c:v>
                </c:pt>
                <c:pt idx="36">
                  <c:v>-1.4253246753246755</c:v>
                </c:pt>
                <c:pt idx="37">
                  <c:v>-1.3603896103896105</c:v>
                </c:pt>
                <c:pt idx="38">
                  <c:v>-1.2954545454545454</c:v>
                </c:pt>
                <c:pt idx="39">
                  <c:v>-1.6850649350649349</c:v>
                </c:pt>
                <c:pt idx="40">
                  <c:v>-1.4821428571428572</c:v>
                </c:pt>
                <c:pt idx="41">
                  <c:v>-1.4253246753246753</c:v>
                </c:pt>
                <c:pt idx="42">
                  <c:v>-1.3685064935064937</c:v>
                </c:pt>
                <c:pt idx="43">
                  <c:v>-1.4090909090909089</c:v>
                </c:pt>
                <c:pt idx="44">
                  <c:v>-1.8798701298701299</c:v>
                </c:pt>
                <c:pt idx="45">
                  <c:v>-1.8149350649350648</c:v>
                </c:pt>
                <c:pt idx="46">
                  <c:v>-2.0990259740259742</c:v>
                </c:pt>
                <c:pt idx="47">
                  <c:v>-2.0259740259740258</c:v>
                </c:pt>
                <c:pt idx="48">
                  <c:v>-1.7175324675324677</c:v>
                </c:pt>
                <c:pt idx="49">
                  <c:v>-1.7987012987012985</c:v>
                </c:pt>
                <c:pt idx="50">
                  <c:v>-1.75</c:v>
                </c:pt>
                <c:pt idx="51">
                  <c:v>-1.6850649350649349</c:v>
                </c:pt>
                <c:pt idx="52">
                  <c:v>-1.6038961038961037</c:v>
                </c:pt>
                <c:pt idx="53">
                  <c:v>-1.5227272727272729</c:v>
                </c:pt>
                <c:pt idx="54">
                  <c:v>-1.4902597402597402</c:v>
                </c:pt>
                <c:pt idx="55">
                  <c:v>-1.7824675324675325</c:v>
                </c:pt>
                <c:pt idx="56">
                  <c:v>-1.0746753246753247</c:v>
                </c:pt>
                <c:pt idx="57">
                  <c:v>-1.279220779220779</c:v>
                </c:pt>
                <c:pt idx="58">
                  <c:v>-1.2305194805194808</c:v>
                </c:pt>
                <c:pt idx="59">
                  <c:v>-1.1493506493506493</c:v>
                </c:pt>
                <c:pt idx="60">
                  <c:v>0.99025974025974028</c:v>
                </c:pt>
                <c:pt idx="61">
                  <c:v>1.7857142857142858</c:v>
                </c:pt>
                <c:pt idx="62">
                  <c:v>1.5389610389610391</c:v>
                </c:pt>
                <c:pt idx="63">
                  <c:v>2.448051948051948</c:v>
                </c:pt>
                <c:pt idx="64">
                  <c:v>2.3344155844155847</c:v>
                </c:pt>
                <c:pt idx="65">
                  <c:v>2.2207792207792205</c:v>
                </c:pt>
                <c:pt idx="66">
                  <c:v>2.1071428571428568</c:v>
                </c:pt>
                <c:pt idx="67">
                  <c:v>1.3441558441558443</c:v>
                </c:pt>
                <c:pt idx="68">
                  <c:v>0.28896103896103903</c:v>
                </c:pt>
                <c:pt idx="69">
                  <c:v>0.19155844155844171</c:v>
                </c:pt>
                <c:pt idx="70">
                  <c:v>0.12662337662337655</c:v>
                </c:pt>
                <c:pt idx="71">
                  <c:v>9.4155844155844257E-2</c:v>
                </c:pt>
                <c:pt idx="72">
                  <c:v>1.2987012987013038E-2</c:v>
                </c:pt>
                <c:pt idx="73">
                  <c:v>-3.5714285714285809E-2</c:v>
                </c:pt>
                <c:pt idx="74">
                  <c:v>-6.8181818181818218E-2</c:v>
                </c:pt>
                <c:pt idx="75">
                  <c:v>-0.14935064935064929</c:v>
                </c:pt>
                <c:pt idx="76">
                  <c:v>-0.18181818181818185</c:v>
                </c:pt>
                <c:pt idx="77">
                  <c:v>-0.21428571428571438</c:v>
                </c:pt>
                <c:pt idx="78">
                  <c:v>0.13311688311688305</c:v>
                </c:pt>
                <c:pt idx="79">
                  <c:v>6.8181818181818094E-2</c:v>
                </c:pt>
                <c:pt idx="80">
                  <c:v>-0.32142857142857151</c:v>
                </c:pt>
                <c:pt idx="81">
                  <c:v>-1.0844155844155843</c:v>
                </c:pt>
                <c:pt idx="82">
                  <c:v>-1.1493506493506493</c:v>
                </c:pt>
                <c:pt idx="83">
                  <c:v>-1.2142857142857142</c:v>
                </c:pt>
                <c:pt idx="84">
                  <c:v>-1.198051948051948</c:v>
                </c:pt>
                <c:pt idx="85">
                  <c:v>-1.1818181818181819</c:v>
                </c:pt>
                <c:pt idx="86">
                  <c:v>-0.80844155844155841</c:v>
                </c:pt>
                <c:pt idx="87">
                  <c:v>-1.1493506493506493</c:v>
                </c:pt>
                <c:pt idx="88">
                  <c:v>-1.1331168831168832</c:v>
                </c:pt>
                <c:pt idx="89">
                  <c:v>-1.1168831168831168</c:v>
                </c:pt>
                <c:pt idx="90">
                  <c:v>-1.2142857142857142</c:v>
                </c:pt>
                <c:pt idx="91">
                  <c:v>-1.5714285714285714</c:v>
                </c:pt>
                <c:pt idx="92">
                  <c:v>-1.5389610389610391</c:v>
                </c:pt>
                <c:pt idx="93">
                  <c:v>-1.5064935064935068</c:v>
                </c:pt>
                <c:pt idx="94">
                  <c:v>-1.474025974025974</c:v>
                </c:pt>
                <c:pt idx="95">
                  <c:v>-1.4415584415584415</c:v>
                </c:pt>
                <c:pt idx="96">
                  <c:v>-1.5389610389610389</c:v>
                </c:pt>
                <c:pt idx="97">
                  <c:v>-1.474025974025974</c:v>
                </c:pt>
                <c:pt idx="98">
                  <c:v>-1.5064935064935068</c:v>
                </c:pt>
                <c:pt idx="99">
                  <c:v>-1.474025974025974</c:v>
                </c:pt>
                <c:pt idx="100">
                  <c:v>-1.4415584415584415</c:v>
                </c:pt>
                <c:pt idx="101">
                  <c:v>-1.4090909090909089</c:v>
                </c:pt>
                <c:pt idx="102">
                  <c:v>-1.3766233766233766</c:v>
                </c:pt>
                <c:pt idx="103">
                  <c:v>-1.3441558441558443</c:v>
                </c:pt>
                <c:pt idx="104">
                  <c:v>-1.3116883116883116</c:v>
                </c:pt>
                <c:pt idx="105">
                  <c:v>-1.1818181818181817</c:v>
                </c:pt>
                <c:pt idx="106">
                  <c:v>-1.2142857142857142</c:v>
                </c:pt>
                <c:pt idx="107">
                  <c:v>-1.2142857142857142</c:v>
                </c:pt>
                <c:pt idx="108">
                  <c:v>-1.5714285714285714</c:v>
                </c:pt>
                <c:pt idx="109">
                  <c:v>-1.5714285714285714</c:v>
                </c:pt>
                <c:pt idx="110">
                  <c:v>-1.1818181818181817</c:v>
                </c:pt>
                <c:pt idx="111">
                  <c:v>-1.1331168831168832</c:v>
                </c:pt>
                <c:pt idx="112">
                  <c:v>-1.1818181818181819</c:v>
                </c:pt>
                <c:pt idx="113">
                  <c:v>-1.5584415584415585</c:v>
                </c:pt>
                <c:pt idx="114">
                  <c:v>-1.3279220779220779</c:v>
                </c:pt>
                <c:pt idx="115">
                  <c:v>-1.3928571428571428</c:v>
                </c:pt>
                <c:pt idx="116">
                  <c:v>-1.3766233766233766</c:v>
                </c:pt>
                <c:pt idx="117">
                  <c:v>-1.3522727272727273</c:v>
                </c:pt>
                <c:pt idx="118">
                  <c:v>-1.3279220779220782</c:v>
                </c:pt>
                <c:pt idx="119">
                  <c:v>-1.3035714285714286</c:v>
                </c:pt>
                <c:pt idx="120">
                  <c:v>-1.5746753246753247</c:v>
                </c:pt>
                <c:pt idx="121">
                  <c:v>-1.5503246753246753</c:v>
                </c:pt>
                <c:pt idx="122">
                  <c:v>-2.2402597402597406</c:v>
                </c:pt>
                <c:pt idx="123">
                  <c:v>-2.1672077922077917</c:v>
                </c:pt>
                <c:pt idx="124">
                  <c:v>-2.1266233766233769</c:v>
                </c:pt>
                <c:pt idx="125">
                  <c:v>-2.1428571428571428</c:v>
                </c:pt>
                <c:pt idx="126">
                  <c:v>-2.0860389610389611</c:v>
                </c:pt>
                <c:pt idx="127">
                  <c:v>-2.1428571428571428</c:v>
                </c:pt>
                <c:pt idx="128">
                  <c:v>-2.1103896103896105</c:v>
                </c:pt>
                <c:pt idx="129">
                  <c:v>-1.9318181818181819</c:v>
                </c:pt>
                <c:pt idx="130">
                  <c:v>-2.3051948051948052</c:v>
                </c:pt>
                <c:pt idx="131">
                  <c:v>-1.5746753246753247</c:v>
                </c:pt>
                <c:pt idx="132">
                  <c:v>-1.7532467532467533</c:v>
                </c:pt>
                <c:pt idx="133">
                  <c:v>-1.5746753246753245</c:v>
                </c:pt>
                <c:pt idx="134">
                  <c:v>-2.1103896103896105</c:v>
                </c:pt>
                <c:pt idx="135">
                  <c:v>-2.2240259740259742</c:v>
                </c:pt>
                <c:pt idx="136">
                  <c:v>-2.3701298701298703</c:v>
                </c:pt>
                <c:pt idx="137">
                  <c:v>-2.3376623376623376</c:v>
                </c:pt>
                <c:pt idx="138">
                  <c:v>-2.1753246753246751</c:v>
                </c:pt>
                <c:pt idx="139">
                  <c:v>-2.3051948051948052</c:v>
                </c:pt>
                <c:pt idx="140">
                  <c:v>-2.6055194805194803</c:v>
                </c:pt>
                <c:pt idx="141">
                  <c:v>-2.2564935064935066</c:v>
                </c:pt>
                <c:pt idx="142">
                  <c:v>-2.5568181818181821</c:v>
                </c:pt>
                <c:pt idx="143">
                  <c:v>-3.0844155844155843</c:v>
                </c:pt>
                <c:pt idx="144">
                  <c:v>-3.0113636363636362</c:v>
                </c:pt>
                <c:pt idx="145">
                  <c:v>-2.9951298701298699</c:v>
                </c:pt>
                <c:pt idx="146">
                  <c:v>-3.1087662337662336</c:v>
                </c:pt>
                <c:pt idx="147">
                  <c:v>-2.8571428571428572</c:v>
                </c:pt>
                <c:pt idx="148">
                  <c:v>-3.3928571428571428</c:v>
                </c:pt>
                <c:pt idx="149">
                  <c:v>-2.4350649350649354</c:v>
                </c:pt>
                <c:pt idx="150">
                  <c:v>-2.3701298701298699</c:v>
                </c:pt>
                <c:pt idx="151">
                  <c:v>-3.3766233766233769</c:v>
                </c:pt>
                <c:pt idx="152">
                  <c:v>-3.3116883116883118</c:v>
                </c:pt>
                <c:pt idx="153">
                  <c:v>-3.0681818181818179</c:v>
                </c:pt>
                <c:pt idx="154">
                  <c:v>-3.279220779220779</c:v>
                </c:pt>
                <c:pt idx="155">
                  <c:v>-3.5876623376623376</c:v>
                </c:pt>
                <c:pt idx="156">
                  <c:v>-3.5389610389610389</c:v>
                </c:pt>
                <c:pt idx="157">
                  <c:v>-3.4902597402597406</c:v>
                </c:pt>
                <c:pt idx="158">
                  <c:v>-3.0844155844155843</c:v>
                </c:pt>
                <c:pt idx="159">
                  <c:v>-3.0357142857142856</c:v>
                </c:pt>
                <c:pt idx="160">
                  <c:v>-2.9707792207792205</c:v>
                </c:pt>
                <c:pt idx="161">
                  <c:v>-2.9383116883116887</c:v>
                </c:pt>
                <c:pt idx="162">
                  <c:v>-2.5162337662337664</c:v>
                </c:pt>
                <c:pt idx="163">
                  <c:v>-2.5974025974025978</c:v>
                </c:pt>
                <c:pt idx="164">
                  <c:v>-1.8344155844155843</c:v>
                </c:pt>
                <c:pt idx="165">
                  <c:v>-2.2970779220779218</c:v>
                </c:pt>
                <c:pt idx="166">
                  <c:v>-2.2402597402597402</c:v>
                </c:pt>
                <c:pt idx="167">
                  <c:v>-1.9886363636363638</c:v>
                </c:pt>
                <c:pt idx="168">
                  <c:v>-2.1915584415584415</c:v>
                </c:pt>
                <c:pt idx="169">
                  <c:v>-2.1509740259740262</c:v>
                </c:pt>
                <c:pt idx="170">
                  <c:v>-2.1103896103896105</c:v>
                </c:pt>
                <c:pt idx="171">
                  <c:v>-2.0698051948051948</c:v>
                </c:pt>
                <c:pt idx="172">
                  <c:v>-2.0779220779220777</c:v>
                </c:pt>
                <c:pt idx="173">
                  <c:v>-2.0373376623376624</c:v>
                </c:pt>
                <c:pt idx="174">
                  <c:v>-2.7110389610389616</c:v>
                </c:pt>
                <c:pt idx="175">
                  <c:v>-1.8879870129870133</c:v>
                </c:pt>
                <c:pt idx="176">
                  <c:v>-2.5974025974025978</c:v>
                </c:pt>
                <c:pt idx="177">
                  <c:v>-2.1314935064935066</c:v>
                </c:pt>
                <c:pt idx="178">
                  <c:v>-2.4512987012987009</c:v>
                </c:pt>
                <c:pt idx="179">
                  <c:v>-2.5568181818181812</c:v>
                </c:pt>
                <c:pt idx="180">
                  <c:v>-1.5876623376623376</c:v>
                </c:pt>
                <c:pt idx="181">
                  <c:v>-1.9642857142857142</c:v>
                </c:pt>
                <c:pt idx="182">
                  <c:v>-1.8993506493506493</c:v>
                </c:pt>
                <c:pt idx="183">
                  <c:v>-2.5487012987012991</c:v>
                </c:pt>
                <c:pt idx="184">
                  <c:v>-2.3051948051948052</c:v>
                </c:pt>
                <c:pt idx="185">
                  <c:v>-2.2402597402597406</c:v>
                </c:pt>
                <c:pt idx="186">
                  <c:v>-2.3831168831168834</c:v>
                </c:pt>
                <c:pt idx="187">
                  <c:v>-2.5162337662337664</c:v>
                </c:pt>
                <c:pt idx="188">
                  <c:v>-2.5</c:v>
                </c:pt>
                <c:pt idx="189">
                  <c:v>-1.2629870129870129</c:v>
                </c:pt>
                <c:pt idx="190">
                  <c:v>-1.2142857142857142</c:v>
                </c:pt>
                <c:pt idx="191">
                  <c:v>-1.5227272727272729</c:v>
                </c:pt>
                <c:pt idx="192">
                  <c:v>-1.4740259740259738</c:v>
                </c:pt>
                <c:pt idx="193">
                  <c:v>-1.7694805194805194</c:v>
                </c:pt>
                <c:pt idx="194">
                  <c:v>-2.5487012987012991</c:v>
                </c:pt>
                <c:pt idx="195">
                  <c:v>-2.6785714285714284</c:v>
                </c:pt>
                <c:pt idx="196">
                  <c:v>-2.654220779220779</c:v>
                </c:pt>
                <c:pt idx="197">
                  <c:v>-2.2727272727272729</c:v>
                </c:pt>
                <c:pt idx="198">
                  <c:v>-1.7613636363636365</c:v>
                </c:pt>
                <c:pt idx="199">
                  <c:v>-1.1818181818181819</c:v>
                </c:pt>
                <c:pt idx="200">
                  <c:v>-1.3717532467532469</c:v>
                </c:pt>
                <c:pt idx="201">
                  <c:v>-1.125</c:v>
                </c:pt>
                <c:pt idx="202">
                  <c:v>-1.1087662337662336</c:v>
                </c:pt>
                <c:pt idx="203">
                  <c:v>-1.7370129870129869</c:v>
                </c:pt>
                <c:pt idx="204">
                  <c:v>-1.8262987012987015</c:v>
                </c:pt>
                <c:pt idx="205">
                  <c:v>-1.8181818181818181</c:v>
                </c:pt>
                <c:pt idx="206">
                  <c:v>-1.8100649350649352</c:v>
                </c:pt>
                <c:pt idx="207">
                  <c:v>-1.8019480519480522</c:v>
                </c:pt>
                <c:pt idx="208">
                  <c:v>-1.7938311688311688</c:v>
                </c:pt>
                <c:pt idx="209">
                  <c:v>-1.4821428571428572</c:v>
                </c:pt>
                <c:pt idx="210">
                  <c:v>-1.4659090909090911</c:v>
                </c:pt>
                <c:pt idx="211">
                  <c:v>-1.5633116883116884</c:v>
                </c:pt>
                <c:pt idx="212">
                  <c:v>-1.5633116883116884</c:v>
                </c:pt>
                <c:pt idx="213">
                  <c:v>-1.9204545454545452</c:v>
                </c:pt>
                <c:pt idx="214">
                  <c:v>-1.0584415584415585</c:v>
                </c:pt>
                <c:pt idx="215">
                  <c:v>-1.0178571428571428</c:v>
                </c:pt>
                <c:pt idx="216">
                  <c:v>-1.0097402597402596</c:v>
                </c:pt>
                <c:pt idx="217">
                  <c:v>-1.3425324675324677</c:v>
                </c:pt>
                <c:pt idx="218">
                  <c:v>-1.3181818181818183</c:v>
                </c:pt>
                <c:pt idx="219">
                  <c:v>-1.5795454545454546</c:v>
                </c:pt>
                <c:pt idx="220">
                  <c:v>-1.2710610389610388</c:v>
                </c:pt>
                <c:pt idx="221">
                  <c:v>-1.2733597402597403</c:v>
                </c:pt>
                <c:pt idx="222">
                  <c:v>-1.0021480519480519</c:v>
                </c:pt>
                <c:pt idx="223">
                  <c:v>-1.0357935064935064</c:v>
                </c:pt>
                <c:pt idx="224">
                  <c:v>-1.221238961038961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14B2-4341-B9D1-66DA8D05556F}"/>
            </c:ext>
          </c:extLst>
        </c:ser>
        <c:ser>
          <c:idx val="1"/>
          <c:order val="1"/>
          <c:tx>
            <c:strRef>
              <c:f>画图!$C$1</c:f>
              <c:strCache>
                <c:ptCount val="1"/>
              </c:strCache>
            </c:strRef>
          </c:tx>
          <c:spPr>
            <a:ln w="19050">
              <a:solidFill>
                <a:srgbClr val="FF0000"/>
              </a:solidFill>
              <a:prstDash val="sysDash"/>
            </a:ln>
          </c:spPr>
          <c:marker>
            <c:symbol val="none"/>
          </c:marker>
          <c:cat>
            <c:strRef>
              <c:f>画图!$A$2:$A$226</c:f>
              <c:strCache>
                <c:ptCount val="225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  <c:pt idx="220">
                  <c:v>2025-12-01</c:v>
                </c:pt>
                <c:pt idx="221">
                  <c:v>2025-12-02</c:v>
                </c:pt>
                <c:pt idx="222">
                  <c:v>2025-12-03</c:v>
                </c:pt>
                <c:pt idx="223">
                  <c:v>2025-12-04</c:v>
                </c:pt>
                <c:pt idx="224">
                  <c:v>2025-12-05</c:v>
                </c:pt>
              </c:strCache>
            </c:strRef>
          </c:cat>
          <c:val>
            <c:numRef>
              <c:f>画图!$C$2:$C$226</c:f>
              <c:numCache>
                <c:formatCode>0.00_);[Red]\(0.00\)</c:formatCode>
                <c:ptCount val="225"/>
                <c:pt idx="0">
                  <c:v>-1.696</c:v>
                </c:pt>
                <c:pt idx="1">
                  <c:v>-1.696</c:v>
                </c:pt>
                <c:pt idx="2">
                  <c:v>-1.696</c:v>
                </c:pt>
                <c:pt idx="3">
                  <c:v>-1.696</c:v>
                </c:pt>
                <c:pt idx="4">
                  <c:v>-1.696</c:v>
                </c:pt>
                <c:pt idx="5">
                  <c:v>-1.696</c:v>
                </c:pt>
                <c:pt idx="6">
                  <c:v>-1.696</c:v>
                </c:pt>
                <c:pt idx="7">
                  <c:v>-1.696</c:v>
                </c:pt>
                <c:pt idx="8">
                  <c:v>-1.696</c:v>
                </c:pt>
                <c:pt idx="9">
                  <c:v>-1.696</c:v>
                </c:pt>
                <c:pt idx="10">
                  <c:v>-1.696</c:v>
                </c:pt>
                <c:pt idx="11">
                  <c:v>-1.696</c:v>
                </c:pt>
                <c:pt idx="12">
                  <c:v>-1.696</c:v>
                </c:pt>
                <c:pt idx="13">
                  <c:v>-1.696</c:v>
                </c:pt>
                <c:pt idx="14">
                  <c:v>-1.696</c:v>
                </c:pt>
                <c:pt idx="15">
                  <c:v>-1.696</c:v>
                </c:pt>
                <c:pt idx="16">
                  <c:v>-1.696</c:v>
                </c:pt>
                <c:pt idx="17">
                  <c:v>-1.696</c:v>
                </c:pt>
                <c:pt idx="18">
                  <c:v>-1.696</c:v>
                </c:pt>
                <c:pt idx="19">
                  <c:v>-1.696</c:v>
                </c:pt>
                <c:pt idx="20">
                  <c:v>-1.696</c:v>
                </c:pt>
                <c:pt idx="21">
                  <c:v>-1.696</c:v>
                </c:pt>
                <c:pt idx="22">
                  <c:v>-1.696</c:v>
                </c:pt>
                <c:pt idx="23">
                  <c:v>-1.696</c:v>
                </c:pt>
                <c:pt idx="24">
                  <c:v>-1.696</c:v>
                </c:pt>
                <c:pt idx="25">
                  <c:v>-1.696</c:v>
                </c:pt>
                <c:pt idx="26">
                  <c:v>-1.696</c:v>
                </c:pt>
                <c:pt idx="27">
                  <c:v>-1.696</c:v>
                </c:pt>
                <c:pt idx="28">
                  <c:v>-1.696</c:v>
                </c:pt>
                <c:pt idx="29">
                  <c:v>-1.696</c:v>
                </c:pt>
                <c:pt idx="30">
                  <c:v>-1.696</c:v>
                </c:pt>
                <c:pt idx="31">
                  <c:v>-1.696</c:v>
                </c:pt>
                <c:pt idx="32">
                  <c:v>-1.696</c:v>
                </c:pt>
                <c:pt idx="33">
                  <c:v>-1.696</c:v>
                </c:pt>
                <c:pt idx="34">
                  <c:v>-1.696</c:v>
                </c:pt>
                <c:pt idx="35">
                  <c:v>-1.696</c:v>
                </c:pt>
                <c:pt idx="36">
                  <c:v>-1.696</c:v>
                </c:pt>
                <c:pt idx="37">
                  <c:v>-1.696</c:v>
                </c:pt>
                <c:pt idx="38">
                  <c:v>-1.696</c:v>
                </c:pt>
                <c:pt idx="39">
                  <c:v>-1.696</c:v>
                </c:pt>
                <c:pt idx="40">
                  <c:v>-1.696</c:v>
                </c:pt>
                <c:pt idx="41">
                  <c:v>-1.696</c:v>
                </c:pt>
                <c:pt idx="42">
                  <c:v>-1.696</c:v>
                </c:pt>
                <c:pt idx="43">
                  <c:v>-1.696</c:v>
                </c:pt>
                <c:pt idx="44">
                  <c:v>-1.696</c:v>
                </c:pt>
                <c:pt idx="45">
                  <c:v>-1.696</c:v>
                </c:pt>
                <c:pt idx="46">
                  <c:v>-1.696</c:v>
                </c:pt>
                <c:pt idx="47">
                  <c:v>-1.696</c:v>
                </c:pt>
                <c:pt idx="48">
                  <c:v>-1.696</c:v>
                </c:pt>
                <c:pt idx="49">
                  <c:v>-1.696</c:v>
                </c:pt>
                <c:pt idx="50">
                  <c:v>-1.696</c:v>
                </c:pt>
                <c:pt idx="51">
                  <c:v>-1.696</c:v>
                </c:pt>
                <c:pt idx="52">
                  <c:v>-1.696</c:v>
                </c:pt>
                <c:pt idx="53">
                  <c:v>-1.696</c:v>
                </c:pt>
                <c:pt idx="54">
                  <c:v>-1.696</c:v>
                </c:pt>
                <c:pt idx="55">
                  <c:v>-1.696</c:v>
                </c:pt>
                <c:pt idx="56">
                  <c:v>-1.696</c:v>
                </c:pt>
                <c:pt idx="57">
                  <c:v>-1.696</c:v>
                </c:pt>
                <c:pt idx="58">
                  <c:v>-1.696</c:v>
                </c:pt>
                <c:pt idx="59">
                  <c:v>-1.696</c:v>
                </c:pt>
                <c:pt idx="60">
                  <c:v>-1.696</c:v>
                </c:pt>
                <c:pt idx="61">
                  <c:v>-1.696</c:v>
                </c:pt>
                <c:pt idx="62">
                  <c:v>-1.696</c:v>
                </c:pt>
                <c:pt idx="63">
                  <c:v>-1.696</c:v>
                </c:pt>
                <c:pt idx="64">
                  <c:v>-1.696</c:v>
                </c:pt>
                <c:pt idx="65">
                  <c:v>-1.696</c:v>
                </c:pt>
                <c:pt idx="66">
                  <c:v>-1.696</c:v>
                </c:pt>
                <c:pt idx="67">
                  <c:v>-1.696</c:v>
                </c:pt>
                <c:pt idx="68">
                  <c:v>-1.696</c:v>
                </c:pt>
                <c:pt idx="69">
                  <c:v>-1.696</c:v>
                </c:pt>
                <c:pt idx="70">
                  <c:v>-1.696</c:v>
                </c:pt>
                <c:pt idx="71">
                  <c:v>-1.696</c:v>
                </c:pt>
                <c:pt idx="72">
                  <c:v>-1.696</c:v>
                </c:pt>
                <c:pt idx="73">
                  <c:v>-1.696</c:v>
                </c:pt>
                <c:pt idx="74">
                  <c:v>-1.696</c:v>
                </c:pt>
                <c:pt idx="75">
                  <c:v>-1.696</c:v>
                </c:pt>
                <c:pt idx="76">
                  <c:v>-1.696</c:v>
                </c:pt>
                <c:pt idx="77">
                  <c:v>-1.696</c:v>
                </c:pt>
                <c:pt idx="78">
                  <c:v>-1.696</c:v>
                </c:pt>
                <c:pt idx="79">
                  <c:v>-1.696</c:v>
                </c:pt>
                <c:pt idx="80">
                  <c:v>-1.696</c:v>
                </c:pt>
                <c:pt idx="81">
                  <c:v>-1.696</c:v>
                </c:pt>
                <c:pt idx="82">
                  <c:v>-1.696</c:v>
                </c:pt>
                <c:pt idx="83">
                  <c:v>-1.696</c:v>
                </c:pt>
                <c:pt idx="84">
                  <c:v>-1.696</c:v>
                </c:pt>
                <c:pt idx="85">
                  <c:v>-1.696</c:v>
                </c:pt>
                <c:pt idx="86">
                  <c:v>-1.696</c:v>
                </c:pt>
                <c:pt idx="87">
                  <c:v>-1.696</c:v>
                </c:pt>
                <c:pt idx="88">
                  <c:v>-1.696</c:v>
                </c:pt>
                <c:pt idx="89">
                  <c:v>-1.696</c:v>
                </c:pt>
                <c:pt idx="90">
                  <c:v>-1.696</c:v>
                </c:pt>
                <c:pt idx="91">
                  <c:v>-1.696</c:v>
                </c:pt>
                <c:pt idx="92">
                  <c:v>-1.696</c:v>
                </c:pt>
                <c:pt idx="93">
                  <c:v>-1.696</c:v>
                </c:pt>
                <c:pt idx="94">
                  <c:v>-1.696</c:v>
                </c:pt>
                <c:pt idx="95">
                  <c:v>-1.696</c:v>
                </c:pt>
                <c:pt idx="96">
                  <c:v>-1.696</c:v>
                </c:pt>
                <c:pt idx="97">
                  <c:v>-1.696</c:v>
                </c:pt>
                <c:pt idx="98">
                  <c:v>-1.696</c:v>
                </c:pt>
                <c:pt idx="99">
                  <c:v>-1.696</c:v>
                </c:pt>
                <c:pt idx="100">
                  <c:v>-1.696</c:v>
                </c:pt>
                <c:pt idx="101">
                  <c:v>-1.696</c:v>
                </c:pt>
                <c:pt idx="102">
                  <c:v>-1.696</c:v>
                </c:pt>
                <c:pt idx="103">
                  <c:v>-1.696</c:v>
                </c:pt>
                <c:pt idx="104">
                  <c:v>-1.696</c:v>
                </c:pt>
                <c:pt idx="105">
                  <c:v>-1.696</c:v>
                </c:pt>
                <c:pt idx="106">
                  <c:v>-1.696</c:v>
                </c:pt>
                <c:pt idx="107">
                  <c:v>-1.696</c:v>
                </c:pt>
                <c:pt idx="108">
                  <c:v>-1.696</c:v>
                </c:pt>
                <c:pt idx="109">
                  <c:v>-1.696</c:v>
                </c:pt>
                <c:pt idx="110">
                  <c:v>-1.696</c:v>
                </c:pt>
                <c:pt idx="111">
                  <c:v>-1.696</c:v>
                </c:pt>
                <c:pt idx="112">
                  <c:v>-1.696</c:v>
                </c:pt>
                <c:pt idx="113">
                  <c:v>-1.696</c:v>
                </c:pt>
                <c:pt idx="114">
                  <c:v>-1.696</c:v>
                </c:pt>
                <c:pt idx="115">
                  <c:v>-1.696</c:v>
                </c:pt>
                <c:pt idx="116">
                  <c:v>-1.696</c:v>
                </c:pt>
                <c:pt idx="117">
                  <c:v>-1.696</c:v>
                </c:pt>
                <c:pt idx="118">
                  <c:v>-1.696</c:v>
                </c:pt>
                <c:pt idx="119">
                  <c:v>-1.696</c:v>
                </c:pt>
                <c:pt idx="120">
                  <c:v>-1.696</c:v>
                </c:pt>
                <c:pt idx="121">
                  <c:v>-1.696</c:v>
                </c:pt>
                <c:pt idx="122">
                  <c:v>-1.696</c:v>
                </c:pt>
                <c:pt idx="123">
                  <c:v>-1.696</c:v>
                </c:pt>
                <c:pt idx="124">
                  <c:v>-1.696</c:v>
                </c:pt>
                <c:pt idx="125">
                  <c:v>-1.696</c:v>
                </c:pt>
                <c:pt idx="126">
                  <c:v>-1.696</c:v>
                </c:pt>
                <c:pt idx="127">
                  <c:v>-1.696</c:v>
                </c:pt>
                <c:pt idx="128">
                  <c:v>-1.696</c:v>
                </c:pt>
                <c:pt idx="129">
                  <c:v>-1.696</c:v>
                </c:pt>
                <c:pt idx="130">
                  <c:v>-1.696</c:v>
                </c:pt>
                <c:pt idx="131">
                  <c:v>-1.696</c:v>
                </c:pt>
                <c:pt idx="132">
                  <c:v>-1.696</c:v>
                </c:pt>
                <c:pt idx="133">
                  <c:v>-1.696</c:v>
                </c:pt>
                <c:pt idx="134">
                  <c:v>-1.696</c:v>
                </c:pt>
                <c:pt idx="135">
                  <c:v>-1.696</c:v>
                </c:pt>
                <c:pt idx="136">
                  <c:v>-1.696</c:v>
                </c:pt>
                <c:pt idx="137">
                  <c:v>-1.696</c:v>
                </c:pt>
                <c:pt idx="138">
                  <c:v>-1.696</c:v>
                </c:pt>
                <c:pt idx="139">
                  <c:v>-1.696</c:v>
                </c:pt>
                <c:pt idx="140">
                  <c:v>-1.696</c:v>
                </c:pt>
                <c:pt idx="141">
                  <c:v>-1.696</c:v>
                </c:pt>
                <c:pt idx="142">
                  <c:v>-1.696</c:v>
                </c:pt>
                <c:pt idx="143">
                  <c:v>-1.696</c:v>
                </c:pt>
                <c:pt idx="144">
                  <c:v>-1.696</c:v>
                </c:pt>
                <c:pt idx="145">
                  <c:v>-1.696</c:v>
                </c:pt>
                <c:pt idx="146">
                  <c:v>-1.696</c:v>
                </c:pt>
                <c:pt idx="147">
                  <c:v>-1.696</c:v>
                </c:pt>
                <c:pt idx="148">
                  <c:v>-1.696</c:v>
                </c:pt>
                <c:pt idx="149">
                  <c:v>-1.696</c:v>
                </c:pt>
                <c:pt idx="150">
                  <c:v>-1.696</c:v>
                </c:pt>
                <c:pt idx="151">
                  <c:v>-1.696</c:v>
                </c:pt>
                <c:pt idx="152">
                  <c:v>-1.696</c:v>
                </c:pt>
                <c:pt idx="153">
                  <c:v>-1.696</c:v>
                </c:pt>
                <c:pt idx="154">
                  <c:v>-1.696</c:v>
                </c:pt>
                <c:pt idx="155">
                  <c:v>-1.696</c:v>
                </c:pt>
                <c:pt idx="156">
                  <c:v>-1.696</c:v>
                </c:pt>
                <c:pt idx="157">
                  <c:v>-1.696</c:v>
                </c:pt>
                <c:pt idx="158">
                  <c:v>-1.696</c:v>
                </c:pt>
                <c:pt idx="159">
                  <c:v>-1.696</c:v>
                </c:pt>
                <c:pt idx="160">
                  <c:v>-1.696</c:v>
                </c:pt>
                <c:pt idx="161">
                  <c:v>-1.696</c:v>
                </c:pt>
                <c:pt idx="162">
                  <c:v>-1.696</c:v>
                </c:pt>
                <c:pt idx="163">
                  <c:v>-1.696</c:v>
                </c:pt>
                <c:pt idx="164">
                  <c:v>-1.696</c:v>
                </c:pt>
                <c:pt idx="165">
                  <c:v>-1.696</c:v>
                </c:pt>
                <c:pt idx="166">
                  <c:v>-1.696</c:v>
                </c:pt>
                <c:pt idx="167">
                  <c:v>-1.696</c:v>
                </c:pt>
                <c:pt idx="168">
                  <c:v>-1.696</c:v>
                </c:pt>
                <c:pt idx="169">
                  <c:v>-1.696</c:v>
                </c:pt>
                <c:pt idx="170">
                  <c:v>-1.696</c:v>
                </c:pt>
                <c:pt idx="171">
                  <c:v>-1.696</c:v>
                </c:pt>
                <c:pt idx="172">
                  <c:v>-1.696</c:v>
                </c:pt>
                <c:pt idx="173">
                  <c:v>-1.696</c:v>
                </c:pt>
                <c:pt idx="174">
                  <c:v>-1.696</c:v>
                </c:pt>
                <c:pt idx="175">
                  <c:v>-1.696</c:v>
                </c:pt>
                <c:pt idx="176">
                  <c:v>-1.696</c:v>
                </c:pt>
                <c:pt idx="177">
                  <c:v>-1.696</c:v>
                </c:pt>
                <c:pt idx="178">
                  <c:v>-1.696</c:v>
                </c:pt>
                <c:pt idx="179">
                  <c:v>-1.696</c:v>
                </c:pt>
                <c:pt idx="180">
                  <c:v>-1.696</c:v>
                </c:pt>
                <c:pt idx="181">
                  <c:v>-1.696</c:v>
                </c:pt>
                <c:pt idx="182">
                  <c:v>-1.696</c:v>
                </c:pt>
                <c:pt idx="183">
                  <c:v>-1.696</c:v>
                </c:pt>
                <c:pt idx="184">
                  <c:v>-1.696</c:v>
                </c:pt>
                <c:pt idx="185">
                  <c:v>-1.696</c:v>
                </c:pt>
                <c:pt idx="186">
                  <c:v>-1.696</c:v>
                </c:pt>
                <c:pt idx="187">
                  <c:v>-1.696</c:v>
                </c:pt>
                <c:pt idx="188">
                  <c:v>-1.696</c:v>
                </c:pt>
                <c:pt idx="189">
                  <c:v>-1.696</c:v>
                </c:pt>
                <c:pt idx="190">
                  <c:v>-1.696</c:v>
                </c:pt>
                <c:pt idx="191">
                  <c:v>-1.696</c:v>
                </c:pt>
                <c:pt idx="192">
                  <c:v>-1.696</c:v>
                </c:pt>
                <c:pt idx="193">
                  <c:v>-1.696</c:v>
                </c:pt>
                <c:pt idx="194">
                  <c:v>-1.696</c:v>
                </c:pt>
                <c:pt idx="195">
                  <c:v>-1.696</c:v>
                </c:pt>
                <c:pt idx="196">
                  <c:v>-1.696</c:v>
                </c:pt>
                <c:pt idx="197">
                  <c:v>-1.696</c:v>
                </c:pt>
                <c:pt idx="198">
                  <c:v>-1.696</c:v>
                </c:pt>
                <c:pt idx="199">
                  <c:v>-1.696</c:v>
                </c:pt>
                <c:pt idx="200">
                  <c:v>-1.696</c:v>
                </c:pt>
                <c:pt idx="201">
                  <c:v>-1.696</c:v>
                </c:pt>
                <c:pt idx="202">
                  <c:v>-1.696</c:v>
                </c:pt>
                <c:pt idx="203">
                  <c:v>-1.696</c:v>
                </c:pt>
                <c:pt idx="204">
                  <c:v>-1.696</c:v>
                </c:pt>
                <c:pt idx="205">
                  <c:v>-1.696</c:v>
                </c:pt>
                <c:pt idx="206">
                  <c:v>-1.696</c:v>
                </c:pt>
                <c:pt idx="207">
                  <c:v>-1.696</c:v>
                </c:pt>
                <c:pt idx="208">
                  <c:v>-1.696</c:v>
                </c:pt>
                <c:pt idx="209">
                  <c:v>-1.696</c:v>
                </c:pt>
                <c:pt idx="210">
                  <c:v>-1.696</c:v>
                </c:pt>
                <c:pt idx="211">
                  <c:v>-1.696</c:v>
                </c:pt>
                <c:pt idx="212">
                  <c:v>-1.696</c:v>
                </c:pt>
                <c:pt idx="213">
                  <c:v>-1.696</c:v>
                </c:pt>
                <c:pt idx="214">
                  <c:v>-1.696</c:v>
                </c:pt>
                <c:pt idx="215">
                  <c:v>-1.696</c:v>
                </c:pt>
                <c:pt idx="216">
                  <c:v>-1.696</c:v>
                </c:pt>
                <c:pt idx="217">
                  <c:v>-1.696</c:v>
                </c:pt>
                <c:pt idx="218">
                  <c:v>-1.696</c:v>
                </c:pt>
                <c:pt idx="219">
                  <c:v>-1.696</c:v>
                </c:pt>
                <c:pt idx="220">
                  <c:v>-1.696</c:v>
                </c:pt>
                <c:pt idx="221">
                  <c:v>-1.696</c:v>
                </c:pt>
                <c:pt idx="222">
                  <c:v>-1.696</c:v>
                </c:pt>
                <c:pt idx="223">
                  <c:v>-1.696</c:v>
                </c:pt>
                <c:pt idx="224">
                  <c:v>-1.69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14B2-4341-B9D1-66DA8D05556F}"/>
            </c:ext>
          </c:extLst>
        </c:ser>
        <c:ser>
          <c:idx val="2"/>
          <c:order val="2"/>
          <c:tx>
            <c:strRef>
              <c:f>画图!$D$1</c:f>
              <c:strCache>
                <c:ptCount val="1"/>
              </c:strCache>
            </c:strRef>
          </c:tx>
          <c:spPr>
            <a:ln w="19050">
              <a:solidFill>
                <a:srgbClr val="0D97FF"/>
              </a:solidFill>
              <a:prstDash val="sysDash"/>
            </a:ln>
          </c:spPr>
          <c:marker>
            <c:symbol val="none"/>
          </c:marker>
          <c:cat>
            <c:strRef>
              <c:f>画图!$A$2:$A$226</c:f>
              <c:strCache>
                <c:ptCount val="225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  <c:pt idx="220">
                  <c:v>2025-12-01</c:v>
                </c:pt>
                <c:pt idx="221">
                  <c:v>2025-12-02</c:v>
                </c:pt>
                <c:pt idx="222">
                  <c:v>2025-12-03</c:v>
                </c:pt>
                <c:pt idx="223">
                  <c:v>2025-12-04</c:v>
                </c:pt>
                <c:pt idx="224">
                  <c:v>2025-12-05</c:v>
                </c:pt>
              </c:strCache>
            </c:strRef>
          </c:cat>
          <c:val>
            <c:numRef>
              <c:f>画图!$D$2:$D$226</c:f>
              <c:numCache>
                <c:formatCode>0.00_);[Red]\(0.00\)</c:formatCode>
                <c:ptCount val="225"/>
                <c:pt idx="0">
                  <c:v>-0.84799999999999998</c:v>
                </c:pt>
                <c:pt idx="1">
                  <c:v>-0.84799999999999998</c:v>
                </c:pt>
                <c:pt idx="2">
                  <c:v>-0.84799999999999998</c:v>
                </c:pt>
                <c:pt idx="3">
                  <c:v>-0.84799999999999998</c:v>
                </c:pt>
                <c:pt idx="4">
                  <c:v>-0.84799999999999998</c:v>
                </c:pt>
                <c:pt idx="5">
                  <c:v>-0.84799999999999998</c:v>
                </c:pt>
                <c:pt idx="6">
                  <c:v>-0.84799999999999998</c:v>
                </c:pt>
                <c:pt idx="7">
                  <c:v>-0.84799999999999998</c:v>
                </c:pt>
                <c:pt idx="8">
                  <c:v>-0.84799999999999998</c:v>
                </c:pt>
                <c:pt idx="9">
                  <c:v>-0.84799999999999998</c:v>
                </c:pt>
                <c:pt idx="10">
                  <c:v>-0.84799999999999998</c:v>
                </c:pt>
                <c:pt idx="11">
                  <c:v>-0.84799999999999998</c:v>
                </c:pt>
                <c:pt idx="12">
                  <c:v>-0.84799999999999998</c:v>
                </c:pt>
                <c:pt idx="13">
                  <c:v>-0.84799999999999998</c:v>
                </c:pt>
                <c:pt idx="14">
                  <c:v>-0.84799999999999998</c:v>
                </c:pt>
                <c:pt idx="15">
                  <c:v>-0.84799999999999998</c:v>
                </c:pt>
                <c:pt idx="16">
                  <c:v>-0.84799999999999998</c:v>
                </c:pt>
                <c:pt idx="17">
                  <c:v>-0.84799999999999998</c:v>
                </c:pt>
                <c:pt idx="18">
                  <c:v>-0.84799999999999998</c:v>
                </c:pt>
                <c:pt idx="19">
                  <c:v>-0.84799999999999998</c:v>
                </c:pt>
                <c:pt idx="20">
                  <c:v>-0.84799999999999998</c:v>
                </c:pt>
                <c:pt idx="21">
                  <c:v>-0.84799999999999998</c:v>
                </c:pt>
                <c:pt idx="22">
                  <c:v>-0.84799999999999998</c:v>
                </c:pt>
                <c:pt idx="23">
                  <c:v>-0.84799999999999998</c:v>
                </c:pt>
                <c:pt idx="24">
                  <c:v>-0.84799999999999998</c:v>
                </c:pt>
                <c:pt idx="25">
                  <c:v>-0.84799999999999998</c:v>
                </c:pt>
                <c:pt idx="26">
                  <c:v>-0.84799999999999998</c:v>
                </c:pt>
                <c:pt idx="27">
                  <c:v>-0.84799999999999998</c:v>
                </c:pt>
                <c:pt idx="28">
                  <c:v>-0.84799999999999998</c:v>
                </c:pt>
                <c:pt idx="29">
                  <c:v>-0.84799999999999998</c:v>
                </c:pt>
                <c:pt idx="30">
                  <c:v>-0.84799999999999998</c:v>
                </c:pt>
                <c:pt idx="31">
                  <c:v>-0.84799999999999998</c:v>
                </c:pt>
                <c:pt idx="32">
                  <c:v>-0.84799999999999998</c:v>
                </c:pt>
                <c:pt idx="33">
                  <c:v>-0.84799999999999998</c:v>
                </c:pt>
                <c:pt idx="34">
                  <c:v>-0.84799999999999998</c:v>
                </c:pt>
                <c:pt idx="35">
                  <c:v>-0.84799999999999998</c:v>
                </c:pt>
                <c:pt idx="36">
                  <c:v>-0.84799999999999998</c:v>
                </c:pt>
                <c:pt idx="37">
                  <c:v>-0.84799999999999998</c:v>
                </c:pt>
                <c:pt idx="38">
                  <c:v>-0.84799999999999998</c:v>
                </c:pt>
                <c:pt idx="39">
                  <c:v>-0.84799999999999998</c:v>
                </c:pt>
                <c:pt idx="40">
                  <c:v>-0.84799999999999998</c:v>
                </c:pt>
                <c:pt idx="41">
                  <c:v>-0.84799999999999998</c:v>
                </c:pt>
                <c:pt idx="42">
                  <c:v>-0.84799999999999998</c:v>
                </c:pt>
                <c:pt idx="43">
                  <c:v>-0.84799999999999998</c:v>
                </c:pt>
                <c:pt idx="44">
                  <c:v>-0.84799999999999998</c:v>
                </c:pt>
                <c:pt idx="45">
                  <c:v>-0.84799999999999998</c:v>
                </c:pt>
                <c:pt idx="46">
                  <c:v>-0.84799999999999998</c:v>
                </c:pt>
                <c:pt idx="47">
                  <c:v>-0.84799999999999998</c:v>
                </c:pt>
                <c:pt idx="48">
                  <c:v>-0.84799999999999998</c:v>
                </c:pt>
                <c:pt idx="49">
                  <c:v>-0.84799999999999998</c:v>
                </c:pt>
                <c:pt idx="50">
                  <c:v>-0.84799999999999998</c:v>
                </c:pt>
                <c:pt idx="51">
                  <c:v>-0.84799999999999998</c:v>
                </c:pt>
                <c:pt idx="52">
                  <c:v>-0.84799999999999998</c:v>
                </c:pt>
                <c:pt idx="53">
                  <c:v>-0.84799999999999998</c:v>
                </c:pt>
                <c:pt idx="54">
                  <c:v>-0.84799999999999998</c:v>
                </c:pt>
                <c:pt idx="55">
                  <c:v>-0.84799999999999998</c:v>
                </c:pt>
                <c:pt idx="56">
                  <c:v>-0.84799999999999998</c:v>
                </c:pt>
                <c:pt idx="57">
                  <c:v>-0.84799999999999998</c:v>
                </c:pt>
                <c:pt idx="58">
                  <c:v>-0.84799999999999998</c:v>
                </c:pt>
                <c:pt idx="59">
                  <c:v>-0.84799999999999998</c:v>
                </c:pt>
                <c:pt idx="60">
                  <c:v>-0.84799999999999998</c:v>
                </c:pt>
                <c:pt idx="61">
                  <c:v>-0.84799999999999998</c:v>
                </c:pt>
                <c:pt idx="62">
                  <c:v>-0.84799999999999998</c:v>
                </c:pt>
                <c:pt idx="63">
                  <c:v>-0.84799999999999998</c:v>
                </c:pt>
                <c:pt idx="64">
                  <c:v>-0.84799999999999998</c:v>
                </c:pt>
                <c:pt idx="65">
                  <c:v>-0.84799999999999998</c:v>
                </c:pt>
                <c:pt idx="66">
                  <c:v>-0.84799999999999998</c:v>
                </c:pt>
                <c:pt idx="67">
                  <c:v>-0.84799999999999998</c:v>
                </c:pt>
                <c:pt idx="68">
                  <c:v>-0.84799999999999998</c:v>
                </c:pt>
                <c:pt idx="69">
                  <c:v>-0.84799999999999998</c:v>
                </c:pt>
                <c:pt idx="70">
                  <c:v>-0.84799999999999998</c:v>
                </c:pt>
                <c:pt idx="71">
                  <c:v>-0.84799999999999998</c:v>
                </c:pt>
                <c:pt idx="72">
                  <c:v>-0.84799999999999998</c:v>
                </c:pt>
                <c:pt idx="73">
                  <c:v>-0.84799999999999998</c:v>
                </c:pt>
                <c:pt idx="74">
                  <c:v>-0.84799999999999998</c:v>
                </c:pt>
                <c:pt idx="75">
                  <c:v>-0.84799999999999998</c:v>
                </c:pt>
                <c:pt idx="76">
                  <c:v>-0.84799999999999998</c:v>
                </c:pt>
                <c:pt idx="77">
                  <c:v>-0.84799999999999998</c:v>
                </c:pt>
                <c:pt idx="78">
                  <c:v>-0.84799999999999998</c:v>
                </c:pt>
                <c:pt idx="79">
                  <c:v>-0.84799999999999998</c:v>
                </c:pt>
                <c:pt idx="80">
                  <c:v>-0.84799999999999998</c:v>
                </c:pt>
                <c:pt idx="81">
                  <c:v>-0.84799999999999998</c:v>
                </c:pt>
                <c:pt idx="82">
                  <c:v>-0.84799999999999998</c:v>
                </c:pt>
                <c:pt idx="83">
                  <c:v>-0.84799999999999998</c:v>
                </c:pt>
                <c:pt idx="84">
                  <c:v>-0.84799999999999998</c:v>
                </c:pt>
                <c:pt idx="85">
                  <c:v>-0.84799999999999998</c:v>
                </c:pt>
                <c:pt idx="86">
                  <c:v>-0.84799999999999998</c:v>
                </c:pt>
                <c:pt idx="87">
                  <c:v>-0.84799999999999998</c:v>
                </c:pt>
                <c:pt idx="88">
                  <c:v>-0.84799999999999998</c:v>
                </c:pt>
                <c:pt idx="89">
                  <c:v>-0.84799999999999998</c:v>
                </c:pt>
                <c:pt idx="90">
                  <c:v>-0.84799999999999998</c:v>
                </c:pt>
                <c:pt idx="91">
                  <c:v>-0.84799999999999998</c:v>
                </c:pt>
                <c:pt idx="92">
                  <c:v>-0.84799999999999998</c:v>
                </c:pt>
                <c:pt idx="93">
                  <c:v>-0.84799999999999998</c:v>
                </c:pt>
                <c:pt idx="94">
                  <c:v>-0.84799999999999998</c:v>
                </c:pt>
                <c:pt idx="95">
                  <c:v>-0.84799999999999998</c:v>
                </c:pt>
                <c:pt idx="96">
                  <c:v>-0.84799999999999998</c:v>
                </c:pt>
                <c:pt idx="97">
                  <c:v>-0.84799999999999998</c:v>
                </c:pt>
                <c:pt idx="98">
                  <c:v>-0.84799999999999998</c:v>
                </c:pt>
                <c:pt idx="99">
                  <c:v>-0.84799999999999998</c:v>
                </c:pt>
                <c:pt idx="100">
                  <c:v>-0.84799999999999998</c:v>
                </c:pt>
                <c:pt idx="101">
                  <c:v>-0.84799999999999998</c:v>
                </c:pt>
                <c:pt idx="102">
                  <c:v>-0.84799999999999998</c:v>
                </c:pt>
                <c:pt idx="103">
                  <c:v>-0.84799999999999998</c:v>
                </c:pt>
                <c:pt idx="104">
                  <c:v>-0.84799999999999998</c:v>
                </c:pt>
                <c:pt idx="105">
                  <c:v>-0.84799999999999998</c:v>
                </c:pt>
                <c:pt idx="106">
                  <c:v>-0.84799999999999998</c:v>
                </c:pt>
                <c:pt idx="107">
                  <c:v>-0.84799999999999998</c:v>
                </c:pt>
                <c:pt idx="108">
                  <c:v>-0.84799999999999998</c:v>
                </c:pt>
                <c:pt idx="109">
                  <c:v>-0.84799999999999998</c:v>
                </c:pt>
                <c:pt idx="110">
                  <c:v>-0.84799999999999998</c:v>
                </c:pt>
                <c:pt idx="111">
                  <c:v>-0.84799999999999998</c:v>
                </c:pt>
                <c:pt idx="112">
                  <c:v>-0.84799999999999998</c:v>
                </c:pt>
                <c:pt idx="113">
                  <c:v>-0.84799999999999998</c:v>
                </c:pt>
                <c:pt idx="114">
                  <c:v>-0.84799999999999998</c:v>
                </c:pt>
                <c:pt idx="115">
                  <c:v>-0.84799999999999998</c:v>
                </c:pt>
                <c:pt idx="116">
                  <c:v>-0.84799999999999998</c:v>
                </c:pt>
                <c:pt idx="117">
                  <c:v>-0.84799999999999998</c:v>
                </c:pt>
                <c:pt idx="118">
                  <c:v>-0.84799999999999998</c:v>
                </c:pt>
                <c:pt idx="119">
                  <c:v>-0.84799999999999998</c:v>
                </c:pt>
                <c:pt idx="120">
                  <c:v>-0.84799999999999998</c:v>
                </c:pt>
                <c:pt idx="121">
                  <c:v>-0.84799999999999998</c:v>
                </c:pt>
                <c:pt idx="122">
                  <c:v>-0.84799999999999998</c:v>
                </c:pt>
                <c:pt idx="123">
                  <c:v>-0.84799999999999998</c:v>
                </c:pt>
                <c:pt idx="124">
                  <c:v>-0.84799999999999998</c:v>
                </c:pt>
                <c:pt idx="125">
                  <c:v>-0.84799999999999998</c:v>
                </c:pt>
                <c:pt idx="126">
                  <c:v>-0.84799999999999998</c:v>
                </c:pt>
                <c:pt idx="127">
                  <c:v>-0.84799999999999998</c:v>
                </c:pt>
                <c:pt idx="128">
                  <c:v>-0.84799999999999998</c:v>
                </c:pt>
                <c:pt idx="129">
                  <c:v>-0.84799999999999998</c:v>
                </c:pt>
                <c:pt idx="130">
                  <c:v>-0.84799999999999998</c:v>
                </c:pt>
                <c:pt idx="131">
                  <c:v>-0.84799999999999998</c:v>
                </c:pt>
                <c:pt idx="132">
                  <c:v>-0.84799999999999998</c:v>
                </c:pt>
                <c:pt idx="133">
                  <c:v>-0.84799999999999998</c:v>
                </c:pt>
                <c:pt idx="134">
                  <c:v>-0.84799999999999998</c:v>
                </c:pt>
                <c:pt idx="135">
                  <c:v>-0.84799999999999998</c:v>
                </c:pt>
                <c:pt idx="136">
                  <c:v>-0.84799999999999998</c:v>
                </c:pt>
                <c:pt idx="137">
                  <c:v>-0.84799999999999998</c:v>
                </c:pt>
                <c:pt idx="138">
                  <c:v>-0.84799999999999998</c:v>
                </c:pt>
                <c:pt idx="139">
                  <c:v>-0.84799999999999998</c:v>
                </c:pt>
                <c:pt idx="140">
                  <c:v>-0.84799999999999998</c:v>
                </c:pt>
                <c:pt idx="141">
                  <c:v>-0.84799999999999998</c:v>
                </c:pt>
                <c:pt idx="142">
                  <c:v>-0.84799999999999998</c:v>
                </c:pt>
                <c:pt idx="143">
                  <c:v>-0.84799999999999998</c:v>
                </c:pt>
                <c:pt idx="144">
                  <c:v>-0.84799999999999998</c:v>
                </c:pt>
                <c:pt idx="145">
                  <c:v>-0.84799999999999998</c:v>
                </c:pt>
                <c:pt idx="146">
                  <c:v>-0.84799999999999998</c:v>
                </c:pt>
                <c:pt idx="147">
                  <c:v>-0.84799999999999998</c:v>
                </c:pt>
                <c:pt idx="148">
                  <c:v>-0.84799999999999998</c:v>
                </c:pt>
                <c:pt idx="149">
                  <c:v>-0.84799999999999998</c:v>
                </c:pt>
                <c:pt idx="150">
                  <c:v>-0.84799999999999998</c:v>
                </c:pt>
                <c:pt idx="151">
                  <c:v>-0.84799999999999998</c:v>
                </c:pt>
                <c:pt idx="152">
                  <c:v>-0.84799999999999998</c:v>
                </c:pt>
                <c:pt idx="153">
                  <c:v>-0.84799999999999998</c:v>
                </c:pt>
                <c:pt idx="154">
                  <c:v>-0.84799999999999998</c:v>
                </c:pt>
                <c:pt idx="155">
                  <c:v>-0.84799999999999998</c:v>
                </c:pt>
                <c:pt idx="156">
                  <c:v>-0.84799999999999998</c:v>
                </c:pt>
                <c:pt idx="157">
                  <c:v>-0.84799999999999998</c:v>
                </c:pt>
                <c:pt idx="158">
                  <c:v>-0.84799999999999998</c:v>
                </c:pt>
                <c:pt idx="159">
                  <c:v>-0.84799999999999998</c:v>
                </c:pt>
                <c:pt idx="160">
                  <c:v>-0.84799999999999998</c:v>
                </c:pt>
                <c:pt idx="161">
                  <c:v>-0.84799999999999998</c:v>
                </c:pt>
                <c:pt idx="162">
                  <c:v>-0.84799999999999998</c:v>
                </c:pt>
                <c:pt idx="163">
                  <c:v>-0.84799999999999998</c:v>
                </c:pt>
                <c:pt idx="164">
                  <c:v>-0.84799999999999998</c:v>
                </c:pt>
                <c:pt idx="165">
                  <c:v>-0.84799999999999998</c:v>
                </c:pt>
                <c:pt idx="166">
                  <c:v>-0.84799999999999998</c:v>
                </c:pt>
                <c:pt idx="167">
                  <c:v>-0.84799999999999998</c:v>
                </c:pt>
                <c:pt idx="168">
                  <c:v>-0.84799999999999998</c:v>
                </c:pt>
                <c:pt idx="169">
                  <c:v>-0.84799999999999998</c:v>
                </c:pt>
                <c:pt idx="170">
                  <c:v>-0.84799999999999998</c:v>
                </c:pt>
                <c:pt idx="171">
                  <c:v>-0.84799999999999998</c:v>
                </c:pt>
                <c:pt idx="172">
                  <c:v>-0.84799999999999998</c:v>
                </c:pt>
                <c:pt idx="173">
                  <c:v>-0.84799999999999998</c:v>
                </c:pt>
                <c:pt idx="174">
                  <c:v>-0.84799999999999998</c:v>
                </c:pt>
                <c:pt idx="175">
                  <c:v>-0.84799999999999998</c:v>
                </c:pt>
                <c:pt idx="176">
                  <c:v>-0.84799999999999998</c:v>
                </c:pt>
                <c:pt idx="177">
                  <c:v>-0.84799999999999998</c:v>
                </c:pt>
                <c:pt idx="178">
                  <c:v>-0.84799999999999998</c:v>
                </c:pt>
                <c:pt idx="179">
                  <c:v>-0.84799999999999998</c:v>
                </c:pt>
                <c:pt idx="180">
                  <c:v>-0.84799999999999998</c:v>
                </c:pt>
                <c:pt idx="181">
                  <c:v>-0.84799999999999998</c:v>
                </c:pt>
                <c:pt idx="182">
                  <c:v>-0.84799999999999998</c:v>
                </c:pt>
                <c:pt idx="183">
                  <c:v>-0.84799999999999998</c:v>
                </c:pt>
                <c:pt idx="184">
                  <c:v>-0.84799999999999998</c:v>
                </c:pt>
                <c:pt idx="185">
                  <c:v>-0.84799999999999998</c:v>
                </c:pt>
                <c:pt idx="186">
                  <c:v>-0.84799999999999998</c:v>
                </c:pt>
                <c:pt idx="187">
                  <c:v>-0.84799999999999998</c:v>
                </c:pt>
                <c:pt idx="188">
                  <c:v>-0.84799999999999998</c:v>
                </c:pt>
                <c:pt idx="189">
                  <c:v>-0.84799999999999998</c:v>
                </c:pt>
                <c:pt idx="190">
                  <c:v>-0.84799999999999998</c:v>
                </c:pt>
                <c:pt idx="191">
                  <c:v>-0.84799999999999998</c:v>
                </c:pt>
                <c:pt idx="192">
                  <c:v>-0.84799999999999998</c:v>
                </c:pt>
                <c:pt idx="193">
                  <c:v>-0.84799999999999998</c:v>
                </c:pt>
                <c:pt idx="194">
                  <c:v>-0.84799999999999998</c:v>
                </c:pt>
                <c:pt idx="195">
                  <c:v>-0.84799999999999998</c:v>
                </c:pt>
                <c:pt idx="196">
                  <c:v>-0.84799999999999998</c:v>
                </c:pt>
                <c:pt idx="197">
                  <c:v>-0.84799999999999998</c:v>
                </c:pt>
                <c:pt idx="198">
                  <c:v>-0.84799999999999998</c:v>
                </c:pt>
                <c:pt idx="199">
                  <c:v>-0.84799999999999998</c:v>
                </c:pt>
                <c:pt idx="200">
                  <c:v>-0.84799999999999998</c:v>
                </c:pt>
                <c:pt idx="201">
                  <c:v>-0.84799999999999998</c:v>
                </c:pt>
                <c:pt idx="202">
                  <c:v>-0.84799999999999998</c:v>
                </c:pt>
                <c:pt idx="203">
                  <c:v>-0.84799999999999998</c:v>
                </c:pt>
                <c:pt idx="204">
                  <c:v>-0.84799999999999998</c:v>
                </c:pt>
                <c:pt idx="205">
                  <c:v>-0.84799999999999998</c:v>
                </c:pt>
                <c:pt idx="206">
                  <c:v>-0.84799999999999998</c:v>
                </c:pt>
                <c:pt idx="207">
                  <c:v>-0.84799999999999998</c:v>
                </c:pt>
                <c:pt idx="208">
                  <c:v>-0.84799999999999998</c:v>
                </c:pt>
                <c:pt idx="209">
                  <c:v>-0.84799999999999998</c:v>
                </c:pt>
                <c:pt idx="210">
                  <c:v>-0.84799999999999998</c:v>
                </c:pt>
                <c:pt idx="211">
                  <c:v>-0.84799999999999998</c:v>
                </c:pt>
                <c:pt idx="212">
                  <c:v>-0.84799999999999998</c:v>
                </c:pt>
                <c:pt idx="213">
                  <c:v>-0.84799999999999998</c:v>
                </c:pt>
                <c:pt idx="214">
                  <c:v>-0.84799999999999998</c:v>
                </c:pt>
                <c:pt idx="215">
                  <c:v>-0.84799999999999998</c:v>
                </c:pt>
                <c:pt idx="216">
                  <c:v>-0.84799999999999998</c:v>
                </c:pt>
                <c:pt idx="217">
                  <c:v>-0.84799999999999998</c:v>
                </c:pt>
                <c:pt idx="218">
                  <c:v>-0.84799999999999998</c:v>
                </c:pt>
                <c:pt idx="219">
                  <c:v>-0.84799999999999998</c:v>
                </c:pt>
                <c:pt idx="220">
                  <c:v>-0.84799999999999998</c:v>
                </c:pt>
                <c:pt idx="221">
                  <c:v>-0.84799999999999998</c:v>
                </c:pt>
                <c:pt idx="222">
                  <c:v>-0.84799999999999998</c:v>
                </c:pt>
                <c:pt idx="223">
                  <c:v>-0.84799999999999998</c:v>
                </c:pt>
                <c:pt idx="224">
                  <c:v>-0.8479999999999999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14B2-4341-B9D1-66DA8D05556F}"/>
            </c:ext>
          </c:extLst>
        </c:ser>
        <c:ser>
          <c:idx val="3"/>
          <c:order val="3"/>
          <c:tx>
            <c:strRef>
              <c:f>画图!$E$1</c:f>
              <c:strCache>
                <c:ptCount val="1"/>
              </c:strCache>
            </c:strRef>
          </c:tx>
          <c:spPr>
            <a:ln w="19050">
              <a:solidFill>
                <a:srgbClr val="FFB3B3"/>
              </a:solidFill>
            </a:ln>
          </c:spPr>
          <c:marker>
            <c:symbol val="none"/>
          </c:marker>
          <c:cat>
            <c:strRef>
              <c:f>画图!$A$2:$A$226</c:f>
              <c:strCache>
                <c:ptCount val="225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  <c:pt idx="220">
                  <c:v>2025-12-01</c:v>
                </c:pt>
                <c:pt idx="221">
                  <c:v>2025-12-02</c:v>
                </c:pt>
                <c:pt idx="222">
                  <c:v>2025-12-03</c:v>
                </c:pt>
                <c:pt idx="223">
                  <c:v>2025-12-04</c:v>
                </c:pt>
                <c:pt idx="224">
                  <c:v>2025-12-05</c:v>
                </c:pt>
              </c:strCache>
            </c:strRef>
          </c:cat>
          <c:val>
            <c:numRef>
              <c:f>画图!$E$2:$E$226</c:f>
              <c:numCache>
                <c:formatCode>0.00_);[Red]\(0.00\)</c:formatCode>
                <c:ptCount val="2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14B2-4341-B9D1-66DA8D05556F}"/>
            </c:ext>
          </c:extLst>
        </c:ser>
        <c:ser>
          <c:idx val="4"/>
          <c:order val="4"/>
          <c:tx>
            <c:strRef>
              <c:f>画图!$F$1</c:f>
              <c:strCache>
                <c:ptCount val="1"/>
              </c:strCache>
            </c:strRef>
          </c:tx>
          <c:spPr>
            <a:ln w="19050">
              <a:solidFill>
                <a:srgbClr val="75C4FF"/>
              </a:solidFill>
              <a:prstDash val="sysDash"/>
            </a:ln>
          </c:spPr>
          <c:marker>
            <c:symbol val="none"/>
          </c:marker>
          <c:cat>
            <c:strRef>
              <c:f>画图!$A$2:$A$226</c:f>
              <c:strCache>
                <c:ptCount val="225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  <c:pt idx="220">
                  <c:v>2025-12-01</c:v>
                </c:pt>
                <c:pt idx="221">
                  <c:v>2025-12-02</c:v>
                </c:pt>
                <c:pt idx="222">
                  <c:v>2025-12-03</c:v>
                </c:pt>
                <c:pt idx="223">
                  <c:v>2025-12-04</c:v>
                </c:pt>
                <c:pt idx="224">
                  <c:v>2025-12-05</c:v>
                </c:pt>
              </c:strCache>
            </c:strRef>
          </c:cat>
          <c:val>
            <c:numRef>
              <c:f>画图!$F$2:$F$226</c:f>
              <c:numCache>
                <c:formatCode>0.00_);[Red]\(0.00\)</c:formatCode>
                <c:ptCount val="225"/>
                <c:pt idx="0">
                  <c:v>0.84799999999999998</c:v>
                </c:pt>
                <c:pt idx="1">
                  <c:v>0.84799999999999998</c:v>
                </c:pt>
                <c:pt idx="2">
                  <c:v>0.84799999999999998</c:v>
                </c:pt>
                <c:pt idx="3">
                  <c:v>0.84799999999999998</c:v>
                </c:pt>
                <c:pt idx="4">
                  <c:v>0.84799999999999998</c:v>
                </c:pt>
                <c:pt idx="5">
                  <c:v>0.84799999999999998</c:v>
                </c:pt>
                <c:pt idx="6">
                  <c:v>0.84799999999999998</c:v>
                </c:pt>
                <c:pt idx="7">
                  <c:v>0.84799999999999998</c:v>
                </c:pt>
                <c:pt idx="8">
                  <c:v>0.84799999999999998</c:v>
                </c:pt>
                <c:pt idx="9">
                  <c:v>0.84799999999999998</c:v>
                </c:pt>
                <c:pt idx="10">
                  <c:v>0.84799999999999998</c:v>
                </c:pt>
                <c:pt idx="11">
                  <c:v>0.84799999999999998</c:v>
                </c:pt>
                <c:pt idx="12">
                  <c:v>0.84799999999999998</c:v>
                </c:pt>
                <c:pt idx="13">
                  <c:v>0.84799999999999998</c:v>
                </c:pt>
                <c:pt idx="14">
                  <c:v>0.84799999999999998</c:v>
                </c:pt>
                <c:pt idx="15">
                  <c:v>0.84799999999999998</c:v>
                </c:pt>
                <c:pt idx="16">
                  <c:v>0.84799999999999998</c:v>
                </c:pt>
                <c:pt idx="17">
                  <c:v>0.84799999999999998</c:v>
                </c:pt>
                <c:pt idx="18">
                  <c:v>0.84799999999999998</c:v>
                </c:pt>
                <c:pt idx="19">
                  <c:v>0.84799999999999998</c:v>
                </c:pt>
                <c:pt idx="20">
                  <c:v>0.84799999999999998</c:v>
                </c:pt>
                <c:pt idx="21">
                  <c:v>0.84799999999999998</c:v>
                </c:pt>
                <c:pt idx="22">
                  <c:v>0.84799999999999998</c:v>
                </c:pt>
                <c:pt idx="23">
                  <c:v>0.84799999999999998</c:v>
                </c:pt>
                <c:pt idx="24">
                  <c:v>0.84799999999999998</c:v>
                </c:pt>
                <c:pt idx="25">
                  <c:v>0.84799999999999998</c:v>
                </c:pt>
                <c:pt idx="26">
                  <c:v>0.84799999999999998</c:v>
                </c:pt>
                <c:pt idx="27">
                  <c:v>0.84799999999999998</c:v>
                </c:pt>
                <c:pt idx="28">
                  <c:v>0.84799999999999998</c:v>
                </c:pt>
                <c:pt idx="29">
                  <c:v>0.84799999999999998</c:v>
                </c:pt>
                <c:pt idx="30">
                  <c:v>0.84799999999999998</c:v>
                </c:pt>
                <c:pt idx="31">
                  <c:v>0.84799999999999998</c:v>
                </c:pt>
                <c:pt idx="32">
                  <c:v>0.84799999999999998</c:v>
                </c:pt>
                <c:pt idx="33">
                  <c:v>0.84799999999999998</c:v>
                </c:pt>
                <c:pt idx="34">
                  <c:v>0.84799999999999998</c:v>
                </c:pt>
                <c:pt idx="35">
                  <c:v>0.84799999999999998</c:v>
                </c:pt>
                <c:pt idx="36">
                  <c:v>0.84799999999999998</c:v>
                </c:pt>
                <c:pt idx="37">
                  <c:v>0.84799999999999998</c:v>
                </c:pt>
                <c:pt idx="38">
                  <c:v>0.84799999999999998</c:v>
                </c:pt>
                <c:pt idx="39">
                  <c:v>0.84799999999999998</c:v>
                </c:pt>
                <c:pt idx="40">
                  <c:v>0.84799999999999998</c:v>
                </c:pt>
                <c:pt idx="41">
                  <c:v>0.84799999999999998</c:v>
                </c:pt>
                <c:pt idx="42">
                  <c:v>0.84799999999999998</c:v>
                </c:pt>
                <c:pt idx="43">
                  <c:v>0.84799999999999998</c:v>
                </c:pt>
                <c:pt idx="44">
                  <c:v>0.84799999999999998</c:v>
                </c:pt>
                <c:pt idx="45">
                  <c:v>0.84799999999999998</c:v>
                </c:pt>
                <c:pt idx="46">
                  <c:v>0.84799999999999998</c:v>
                </c:pt>
                <c:pt idx="47">
                  <c:v>0.84799999999999998</c:v>
                </c:pt>
                <c:pt idx="48">
                  <c:v>0.84799999999999998</c:v>
                </c:pt>
                <c:pt idx="49">
                  <c:v>0.84799999999999998</c:v>
                </c:pt>
                <c:pt idx="50">
                  <c:v>0.84799999999999998</c:v>
                </c:pt>
                <c:pt idx="51">
                  <c:v>0.84799999999999998</c:v>
                </c:pt>
                <c:pt idx="52">
                  <c:v>0.84799999999999998</c:v>
                </c:pt>
                <c:pt idx="53">
                  <c:v>0.84799999999999998</c:v>
                </c:pt>
                <c:pt idx="54">
                  <c:v>0.84799999999999998</c:v>
                </c:pt>
                <c:pt idx="55">
                  <c:v>0.84799999999999998</c:v>
                </c:pt>
                <c:pt idx="56">
                  <c:v>0.84799999999999998</c:v>
                </c:pt>
                <c:pt idx="57">
                  <c:v>0.84799999999999998</c:v>
                </c:pt>
                <c:pt idx="58">
                  <c:v>0.84799999999999998</c:v>
                </c:pt>
                <c:pt idx="59">
                  <c:v>0.84799999999999998</c:v>
                </c:pt>
                <c:pt idx="60">
                  <c:v>0.84799999999999998</c:v>
                </c:pt>
                <c:pt idx="61">
                  <c:v>0.84799999999999998</c:v>
                </c:pt>
                <c:pt idx="62">
                  <c:v>0.84799999999999998</c:v>
                </c:pt>
                <c:pt idx="63">
                  <c:v>0.84799999999999998</c:v>
                </c:pt>
                <c:pt idx="64">
                  <c:v>0.84799999999999998</c:v>
                </c:pt>
                <c:pt idx="65">
                  <c:v>0.84799999999999998</c:v>
                </c:pt>
                <c:pt idx="66">
                  <c:v>0.84799999999999998</c:v>
                </c:pt>
                <c:pt idx="67">
                  <c:v>0.84799999999999998</c:v>
                </c:pt>
                <c:pt idx="68">
                  <c:v>0.84799999999999998</c:v>
                </c:pt>
                <c:pt idx="69">
                  <c:v>0.84799999999999998</c:v>
                </c:pt>
                <c:pt idx="70">
                  <c:v>0.84799999999999998</c:v>
                </c:pt>
                <c:pt idx="71">
                  <c:v>0.84799999999999998</c:v>
                </c:pt>
                <c:pt idx="72">
                  <c:v>0.84799999999999998</c:v>
                </c:pt>
                <c:pt idx="73">
                  <c:v>0.84799999999999998</c:v>
                </c:pt>
                <c:pt idx="74">
                  <c:v>0.84799999999999998</c:v>
                </c:pt>
                <c:pt idx="75">
                  <c:v>0.84799999999999998</c:v>
                </c:pt>
                <c:pt idx="76">
                  <c:v>0.84799999999999998</c:v>
                </c:pt>
                <c:pt idx="77">
                  <c:v>0.84799999999999998</c:v>
                </c:pt>
                <c:pt idx="78">
                  <c:v>0.84799999999999998</c:v>
                </c:pt>
                <c:pt idx="79">
                  <c:v>0.84799999999999998</c:v>
                </c:pt>
                <c:pt idx="80">
                  <c:v>0.84799999999999998</c:v>
                </c:pt>
                <c:pt idx="81">
                  <c:v>0.84799999999999998</c:v>
                </c:pt>
                <c:pt idx="82">
                  <c:v>0.84799999999999998</c:v>
                </c:pt>
                <c:pt idx="83">
                  <c:v>0.84799999999999998</c:v>
                </c:pt>
                <c:pt idx="84">
                  <c:v>0.84799999999999998</c:v>
                </c:pt>
                <c:pt idx="85">
                  <c:v>0.84799999999999998</c:v>
                </c:pt>
                <c:pt idx="86">
                  <c:v>0.84799999999999998</c:v>
                </c:pt>
                <c:pt idx="87">
                  <c:v>0.84799999999999998</c:v>
                </c:pt>
                <c:pt idx="88">
                  <c:v>0.84799999999999998</c:v>
                </c:pt>
                <c:pt idx="89">
                  <c:v>0.84799999999999998</c:v>
                </c:pt>
                <c:pt idx="90">
                  <c:v>0.84799999999999998</c:v>
                </c:pt>
                <c:pt idx="91">
                  <c:v>0.84799999999999998</c:v>
                </c:pt>
                <c:pt idx="92">
                  <c:v>0.84799999999999998</c:v>
                </c:pt>
                <c:pt idx="93">
                  <c:v>0.84799999999999998</c:v>
                </c:pt>
                <c:pt idx="94">
                  <c:v>0.84799999999999998</c:v>
                </c:pt>
                <c:pt idx="95">
                  <c:v>0.84799999999999998</c:v>
                </c:pt>
                <c:pt idx="96">
                  <c:v>0.84799999999999998</c:v>
                </c:pt>
                <c:pt idx="97">
                  <c:v>0.84799999999999998</c:v>
                </c:pt>
                <c:pt idx="98">
                  <c:v>0.84799999999999998</c:v>
                </c:pt>
                <c:pt idx="99">
                  <c:v>0.84799999999999998</c:v>
                </c:pt>
                <c:pt idx="100">
                  <c:v>0.84799999999999998</c:v>
                </c:pt>
                <c:pt idx="101">
                  <c:v>0.84799999999999998</c:v>
                </c:pt>
                <c:pt idx="102">
                  <c:v>0.84799999999999998</c:v>
                </c:pt>
                <c:pt idx="103">
                  <c:v>0.84799999999999998</c:v>
                </c:pt>
                <c:pt idx="104">
                  <c:v>0.84799999999999998</c:v>
                </c:pt>
                <c:pt idx="105">
                  <c:v>0.84799999999999998</c:v>
                </c:pt>
                <c:pt idx="106">
                  <c:v>0.84799999999999998</c:v>
                </c:pt>
                <c:pt idx="107">
                  <c:v>0.84799999999999998</c:v>
                </c:pt>
                <c:pt idx="108">
                  <c:v>0.84799999999999998</c:v>
                </c:pt>
                <c:pt idx="109">
                  <c:v>0.84799999999999998</c:v>
                </c:pt>
                <c:pt idx="110">
                  <c:v>0.84799999999999998</c:v>
                </c:pt>
                <c:pt idx="111">
                  <c:v>0.84799999999999998</c:v>
                </c:pt>
                <c:pt idx="112">
                  <c:v>0.84799999999999998</c:v>
                </c:pt>
                <c:pt idx="113">
                  <c:v>0.84799999999999998</c:v>
                </c:pt>
                <c:pt idx="114">
                  <c:v>0.84799999999999998</c:v>
                </c:pt>
                <c:pt idx="115">
                  <c:v>0.84799999999999998</c:v>
                </c:pt>
                <c:pt idx="116">
                  <c:v>0.84799999999999998</c:v>
                </c:pt>
                <c:pt idx="117">
                  <c:v>0.84799999999999998</c:v>
                </c:pt>
                <c:pt idx="118">
                  <c:v>0.84799999999999998</c:v>
                </c:pt>
                <c:pt idx="119">
                  <c:v>0.84799999999999998</c:v>
                </c:pt>
                <c:pt idx="120">
                  <c:v>0.84799999999999998</c:v>
                </c:pt>
                <c:pt idx="121">
                  <c:v>0.84799999999999998</c:v>
                </c:pt>
                <c:pt idx="122">
                  <c:v>0.84799999999999998</c:v>
                </c:pt>
                <c:pt idx="123">
                  <c:v>0.84799999999999998</c:v>
                </c:pt>
                <c:pt idx="124">
                  <c:v>0.84799999999999998</c:v>
                </c:pt>
                <c:pt idx="125">
                  <c:v>0.84799999999999998</c:v>
                </c:pt>
                <c:pt idx="126">
                  <c:v>0.84799999999999998</c:v>
                </c:pt>
                <c:pt idx="127">
                  <c:v>0.84799999999999998</c:v>
                </c:pt>
                <c:pt idx="128">
                  <c:v>0.84799999999999998</c:v>
                </c:pt>
                <c:pt idx="129">
                  <c:v>0.84799999999999998</c:v>
                </c:pt>
                <c:pt idx="130">
                  <c:v>0.84799999999999998</c:v>
                </c:pt>
                <c:pt idx="131">
                  <c:v>0.84799999999999998</c:v>
                </c:pt>
                <c:pt idx="132">
                  <c:v>0.84799999999999998</c:v>
                </c:pt>
                <c:pt idx="133">
                  <c:v>0.84799999999999998</c:v>
                </c:pt>
                <c:pt idx="134">
                  <c:v>0.84799999999999998</c:v>
                </c:pt>
                <c:pt idx="135">
                  <c:v>0.84799999999999998</c:v>
                </c:pt>
                <c:pt idx="136">
                  <c:v>0.84799999999999998</c:v>
                </c:pt>
                <c:pt idx="137">
                  <c:v>0.84799999999999998</c:v>
                </c:pt>
                <c:pt idx="138">
                  <c:v>0.84799999999999998</c:v>
                </c:pt>
                <c:pt idx="139">
                  <c:v>0.84799999999999998</c:v>
                </c:pt>
                <c:pt idx="140">
                  <c:v>0.84799999999999998</c:v>
                </c:pt>
                <c:pt idx="141">
                  <c:v>0.84799999999999998</c:v>
                </c:pt>
                <c:pt idx="142">
                  <c:v>0.84799999999999998</c:v>
                </c:pt>
                <c:pt idx="143">
                  <c:v>0.84799999999999998</c:v>
                </c:pt>
                <c:pt idx="144">
                  <c:v>0.84799999999999998</c:v>
                </c:pt>
                <c:pt idx="145">
                  <c:v>0.84799999999999998</c:v>
                </c:pt>
                <c:pt idx="146">
                  <c:v>0.84799999999999998</c:v>
                </c:pt>
                <c:pt idx="147">
                  <c:v>0.84799999999999998</c:v>
                </c:pt>
                <c:pt idx="148">
                  <c:v>0.84799999999999998</c:v>
                </c:pt>
                <c:pt idx="149">
                  <c:v>0.84799999999999998</c:v>
                </c:pt>
                <c:pt idx="150">
                  <c:v>0.84799999999999998</c:v>
                </c:pt>
                <c:pt idx="151">
                  <c:v>0.84799999999999998</c:v>
                </c:pt>
                <c:pt idx="152">
                  <c:v>0.84799999999999998</c:v>
                </c:pt>
                <c:pt idx="153">
                  <c:v>0.84799999999999998</c:v>
                </c:pt>
                <c:pt idx="154">
                  <c:v>0.84799999999999998</c:v>
                </c:pt>
                <c:pt idx="155">
                  <c:v>0.84799999999999998</c:v>
                </c:pt>
                <c:pt idx="156">
                  <c:v>0.84799999999999998</c:v>
                </c:pt>
                <c:pt idx="157">
                  <c:v>0.84799999999999998</c:v>
                </c:pt>
                <c:pt idx="158">
                  <c:v>0.84799999999999998</c:v>
                </c:pt>
                <c:pt idx="159">
                  <c:v>0.84799999999999998</c:v>
                </c:pt>
                <c:pt idx="160">
                  <c:v>0.84799999999999998</c:v>
                </c:pt>
                <c:pt idx="161">
                  <c:v>0.84799999999999998</c:v>
                </c:pt>
                <c:pt idx="162">
                  <c:v>0.84799999999999998</c:v>
                </c:pt>
                <c:pt idx="163">
                  <c:v>0.84799999999999998</c:v>
                </c:pt>
                <c:pt idx="164">
                  <c:v>0.84799999999999998</c:v>
                </c:pt>
                <c:pt idx="165">
                  <c:v>0.84799999999999998</c:v>
                </c:pt>
                <c:pt idx="166">
                  <c:v>0.84799999999999998</c:v>
                </c:pt>
                <c:pt idx="167">
                  <c:v>0.84799999999999998</c:v>
                </c:pt>
                <c:pt idx="168">
                  <c:v>0.84799999999999998</c:v>
                </c:pt>
                <c:pt idx="169">
                  <c:v>0.84799999999999998</c:v>
                </c:pt>
                <c:pt idx="170">
                  <c:v>0.84799999999999998</c:v>
                </c:pt>
                <c:pt idx="171">
                  <c:v>0.84799999999999998</c:v>
                </c:pt>
                <c:pt idx="172">
                  <c:v>0.84799999999999998</c:v>
                </c:pt>
                <c:pt idx="173">
                  <c:v>0.84799999999999998</c:v>
                </c:pt>
                <c:pt idx="174">
                  <c:v>0.84799999999999998</c:v>
                </c:pt>
                <c:pt idx="175">
                  <c:v>0.84799999999999998</c:v>
                </c:pt>
                <c:pt idx="176">
                  <c:v>0.84799999999999998</c:v>
                </c:pt>
                <c:pt idx="177">
                  <c:v>0.84799999999999998</c:v>
                </c:pt>
                <c:pt idx="178">
                  <c:v>0.84799999999999998</c:v>
                </c:pt>
                <c:pt idx="179">
                  <c:v>0.84799999999999998</c:v>
                </c:pt>
                <c:pt idx="180">
                  <c:v>0.84799999999999998</c:v>
                </c:pt>
                <c:pt idx="181">
                  <c:v>0.84799999999999998</c:v>
                </c:pt>
                <c:pt idx="182">
                  <c:v>0.84799999999999998</c:v>
                </c:pt>
                <c:pt idx="183">
                  <c:v>0.84799999999999998</c:v>
                </c:pt>
                <c:pt idx="184">
                  <c:v>0.84799999999999998</c:v>
                </c:pt>
                <c:pt idx="185">
                  <c:v>0.84799999999999998</c:v>
                </c:pt>
                <c:pt idx="186">
                  <c:v>0.84799999999999998</c:v>
                </c:pt>
                <c:pt idx="187">
                  <c:v>0.84799999999999998</c:v>
                </c:pt>
                <c:pt idx="188">
                  <c:v>0.84799999999999998</c:v>
                </c:pt>
                <c:pt idx="189">
                  <c:v>0.84799999999999998</c:v>
                </c:pt>
                <c:pt idx="190">
                  <c:v>0.84799999999999998</c:v>
                </c:pt>
                <c:pt idx="191">
                  <c:v>0.84799999999999998</c:v>
                </c:pt>
                <c:pt idx="192">
                  <c:v>0.84799999999999998</c:v>
                </c:pt>
                <c:pt idx="193">
                  <c:v>0.84799999999999998</c:v>
                </c:pt>
                <c:pt idx="194">
                  <c:v>0.84799999999999998</c:v>
                </c:pt>
                <c:pt idx="195">
                  <c:v>0.84799999999999998</c:v>
                </c:pt>
                <c:pt idx="196">
                  <c:v>0.84799999999999998</c:v>
                </c:pt>
                <c:pt idx="197">
                  <c:v>0.84799999999999998</c:v>
                </c:pt>
                <c:pt idx="198">
                  <c:v>0.84799999999999998</c:v>
                </c:pt>
                <c:pt idx="199">
                  <c:v>0.84799999999999998</c:v>
                </c:pt>
                <c:pt idx="200">
                  <c:v>0.84799999999999998</c:v>
                </c:pt>
                <c:pt idx="201">
                  <c:v>0.84799999999999998</c:v>
                </c:pt>
                <c:pt idx="202">
                  <c:v>0.84799999999999998</c:v>
                </c:pt>
                <c:pt idx="203">
                  <c:v>0.84799999999999998</c:v>
                </c:pt>
                <c:pt idx="204">
                  <c:v>0.84799999999999998</c:v>
                </c:pt>
                <c:pt idx="205">
                  <c:v>0.84799999999999998</c:v>
                </c:pt>
                <c:pt idx="206">
                  <c:v>0.84799999999999998</c:v>
                </c:pt>
                <c:pt idx="207">
                  <c:v>0.84799999999999998</c:v>
                </c:pt>
                <c:pt idx="208">
                  <c:v>0.84799999999999998</c:v>
                </c:pt>
                <c:pt idx="209">
                  <c:v>0.84799999999999998</c:v>
                </c:pt>
                <c:pt idx="210">
                  <c:v>0.84799999999999998</c:v>
                </c:pt>
                <c:pt idx="211">
                  <c:v>0.84799999999999998</c:v>
                </c:pt>
                <c:pt idx="212">
                  <c:v>0.84799999999999998</c:v>
                </c:pt>
                <c:pt idx="213">
                  <c:v>0.84799999999999998</c:v>
                </c:pt>
                <c:pt idx="214">
                  <c:v>0.84799999999999998</c:v>
                </c:pt>
                <c:pt idx="215">
                  <c:v>0.84799999999999998</c:v>
                </c:pt>
                <c:pt idx="216">
                  <c:v>0.84799999999999998</c:v>
                </c:pt>
                <c:pt idx="217">
                  <c:v>0.84799999999999998</c:v>
                </c:pt>
                <c:pt idx="218">
                  <c:v>0.84799999999999998</c:v>
                </c:pt>
                <c:pt idx="219">
                  <c:v>0.84799999999999998</c:v>
                </c:pt>
                <c:pt idx="220">
                  <c:v>0.84799999999999998</c:v>
                </c:pt>
                <c:pt idx="221">
                  <c:v>0.84799999999999998</c:v>
                </c:pt>
                <c:pt idx="222">
                  <c:v>0.84799999999999998</c:v>
                </c:pt>
                <c:pt idx="223">
                  <c:v>0.84799999999999998</c:v>
                </c:pt>
                <c:pt idx="224">
                  <c:v>0.8479999999999999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14B2-4341-B9D1-66DA8D05556F}"/>
            </c:ext>
          </c:extLst>
        </c:ser>
        <c:ser>
          <c:idx val="5"/>
          <c:order val="5"/>
          <c:tx>
            <c:strRef>
              <c:f>画图!$G$1</c:f>
              <c:strCache>
                <c:ptCount val="1"/>
              </c:strCache>
            </c:strRef>
          </c:tx>
          <c:spPr>
            <a:ln w="19050">
              <a:solidFill>
                <a:srgbClr val="878787"/>
              </a:solidFill>
              <a:prstDash val="sysDash"/>
            </a:ln>
          </c:spPr>
          <c:marker>
            <c:symbol val="none"/>
          </c:marker>
          <c:cat>
            <c:strRef>
              <c:f>画图!$A$2:$A$226</c:f>
              <c:strCache>
                <c:ptCount val="225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  <c:pt idx="220">
                  <c:v>2025-12-01</c:v>
                </c:pt>
                <c:pt idx="221">
                  <c:v>2025-12-02</c:v>
                </c:pt>
                <c:pt idx="222">
                  <c:v>2025-12-03</c:v>
                </c:pt>
                <c:pt idx="223">
                  <c:v>2025-12-04</c:v>
                </c:pt>
                <c:pt idx="224">
                  <c:v>2025-12-05</c:v>
                </c:pt>
              </c:strCache>
            </c:strRef>
          </c:cat>
          <c:val>
            <c:numRef>
              <c:f>画图!$G$2:$G$226</c:f>
              <c:numCache>
                <c:formatCode>0.00_);[Red]\(0.00\)</c:formatCode>
                <c:ptCount val="225"/>
                <c:pt idx="0">
                  <c:v>1.696</c:v>
                </c:pt>
                <c:pt idx="1">
                  <c:v>1.696</c:v>
                </c:pt>
                <c:pt idx="2">
                  <c:v>1.696</c:v>
                </c:pt>
                <c:pt idx="3">
                  <c:v>1.696</c:v>
                </c:pt>
                <c:pt idx="4">
                  <c:v>1.696</c:v>
                </c:pt>
                <c:pt idx="5">
                  <c:v>1.696</c:v>
                </c:pt>
                <c:pt idx="6">
                  <c:v>1.696</c:v>
                </c:pt>
                <c:pt idx="7">
                  <c:v>1.696</c:v>
                </c:pt>
                <c:pt idx="8">
                  <c:v>1.696</c:v>
                </c:pt>
                <c:pt idx="9">
                  <c:v>1.696</c:v>
                </c:pt>
                <c:pt idx="10">
                  <c:v>1.696</c:v>
                </c:pt>
                <c:pt idx="11">
                  <c:v>1.696</c:v>
                </c:pt>
                <c:pt idx="12">
                  <c:v>1.696</c:v>
                </c:pt>
                <c:pt idx="13">
                  <c:v>1.696</c:v>
                </c:pt>
                <c:pt idx="14">
                  <c:v>1.696</c:v>
                </c:pt>
                <c:pt idx="15">
                  <c:v>1.696</c:v>
                </c:pt>
                <c:pt idx="16">
                  <c:v>1.696</c:v>
                </c:pt>
                <c:pt idx="17">
                  <c:v>1.696</c:v>
                </c:pt>
                <c:pt idx="18">
                  <c:v>1.696</c:v>
                </c:pt>
                <c:pt idx="19">
                  <c:v>1.696</c:v>
                </c:pt>
                <c:pt idx="20">
                  <c:v>1.696</c:v>
                </c:pt>
                <c:pt idx="21">
                  <c:v>1.696</c:v>
                </c:pt>
                <c:pt idx="22">
                  <c:v>1.696</c:v>
                </c:pt>
                <c:pt idx="23">
                  <c:v>1.696</c:v>
                </c:pt>
                <c:pt idx="24">
                  <c:v>1.696</c:v>
                </c:pt>
                <c:pt idx="25">
                  <c:v>1.696</c:v>
                </c:pt>
                <c:pt idx="26">
                  <c:v>1.696</c:v>
                </c:pt>
                <c:pt idx="27">
                  <c:v>1.696</c:v>
                </c:pt>
                <c:pt idx="28">
                  <c:v>1.696</c:v>
                </c:pt>
                <c:pt idx="29">
                  <c:v>1.696</c:v>
                </c:pt>
                <c:pt idx="30">
                  <c:v>1.696</c:v>
                </c:pt>
                <c:pt idx="31">
                  <c:v>1.696</c:v>
                </c:pt>
                <c:pt idx="32">
                  <c:v>1.696</c:v>
                </c:pt>
                <c:pt idx="33">
                  <c:v>1.696</c:v>
                </c:pt>
                <c:pt idx="34">
                  <c:v>1.696</c:v>
                </c:pt>
                <c:pt idx="35">
                  <c:v>1.696</c:v>
                </c:pt>
                <c:pt idx="36">
                  <c:v>1.696</c:v>
                </c:pt>
                <c:pt idx="37">
                  <c:v>1.696</c:v>
                </c:pt>
                <c:pt idx="38">
                  <c:v>1.696</c:v>
                </c:pt>
                <c:pt idx="39">
                  <c:v>1.696</c:v>
                </c:pt>
                <c:pt idx="40">
                  <c:v>1.696</c:v>
                </c:pt>
                <c:pt idx="41">
                  <c:v>1.696</c:v>
                </c:pt>
                <c:pt idx="42">
                  <c:v>1.696</c:v>
                </c:pt>
                <c:pt idx="43">
                  <c:v>1.696</c:v>
                </c:pt>
                <c:pt idx="44">
                  <c:v>1.696</c:v>
                </c:pt>
                <c:pt idx="45">
                  <c:v>1.696</c:v>
                </c:pt>
                <c:pt idx="46">
                  <c:v>1.696</c:v>
                </c:pt>
                <c:pt idx="47">
                  <c:v>1.696</c:v>
                </c:pt>
                <c:pt idx="48">
                  <c:v>1.696</c:v>
                </c:pt>
                <c:pt idx="49">
                  <c:v>1.696</c:v>
                </c:pt>
                <c:pt idx="50">
                  <c:v>1.696</c:v>
                </c:pt>
                <c:pt idx="51">
                  <c:v>1.696</c:v>
                </c:pt>
                <c:pt idx="52">
                  <c:v>1.696</c:v>
                </c:pt>
                <c:pt idx="53">
                  <c:v>1.696</c:v>
                </c:pt>
                <c:pt idx="54">
                  <c:v>1.696</c:v>
                </c:pt>
                <c:pt idx="55">
                  <c:v>1.696</c:v>
                </c:pt>
                <c:pt idx="56">
                  <c:v>1.696</c:v>
                </c:pt>
                <c:pt idx="57">
                  <c:v>1.696</c:v>
                </c:pt>
                <c:pt idx="58">
                  <c:v>1.696</c:v>
                </c:pt>
                <c:pt idx="59">
                  <c:v>1.696</c:v>
                </c:pt>
                <c:pt idx="60">
                  <c:v>1.696</c:v>
                </c:pt>
                <c:pt idx="61">
                  <c:v>1.696</c:v>
                </c:pt>
                <c:pt idx="62">
                  <c:v>1.696</c:v>
                </c:pt>
                <c:pt idx="63">
                  <c:v>1.696</c:v>
                </c:pt>
                <c:pt idx="64">
                  <c:v>1.696</c:v>
                </c:pt>
                <c:pt idx="65">
                  <c:v>1.696</c:v>
                </c:pt>
                <c:pt idx="66">
                  <c:v>1.696</c:v>
                </c:pt>
                <c:pt idx="67">
                  <c:v>1.696</c:v>
                </c:pt>
                <c:pt idx="68">
                  <c:v>1.696</c:v>
                </c:pt>
                <c:pt idx="69">
                  <c:v>1.696</c:v>
                </c:pt>
                <c:pt idx="70">
                  <c:v>1.696</c:v>
                </c:pt>
                <c:pt idx="71">
                  <c:v>1.696</c:v>
                </c:pt>
                <c:pt idx="72">
                  <c:v>1.696</c:v>
                </c:pt>
                <c:pt idx="73">
                  <c:v>1.696</c:v>
                </c:pt>
                <c:pt idx="74">
                  <c:v>1.696</c:v>
                </c:pt>
                <c:pt idx="75">
                  <c:v>1.696</c:v>
                </c:pt>
                <c:pt idx="76">
                  <c:v>1.696</c:v>
                </c:pt>
                <c:pt idx="77">
                  <c:v>1.696</c:v>
                </c:pt>
                <c:pt idx="78">
                  <c:v>1.696</c:v>
                </c:pt>
                <c:pt idx="79">
                  <c:v>1.696</c:v>
                </c:pt>
                <c:pt idx="80">
                  <c:v>1.696</c:v>
                </c:pt>
                <c:pt idx="81">
                  <c:v>1.696</c:v>
                </c:pt>
                <c:pt idx="82">
                  <c:v>1.696</c:v>
                </c:pt>
                <c:pt idx="83">
                  <c:v>1.696</c:v>
                </c:pt>
                <c:pt idx="84">
                  <c:v>1.696</c:v>
                </c:pt>
                <c:pt idx="85">
                  <c:v>1.696</c:v>
                </c:pt>
                <c:pt idx="86">
                  <c:v>1.696</c:v>
                </c:pt>
                <c:pt idx="87">
                  <c:v>1.696</c:v>
                </c:pt>
                <c:pt idx="88">
                  <c:v>1.696</c:v>
                </c:pt>
                <c:pt idx="89">
                  <c:v>1.696</c:v>
                </c:pt>
                <c:pt idx="90">
                  <c:v>1.696</c:v>
                </c:pt>
                <c:pt idx="91">
                  <c:v>1.696</c:v>
                </c:pt>
                <c:pt idx="92">
                  <c:v>1.696</c:v>
                </c:pt>
                <c:pt idx="93">
                  <c:v>1.696</c:v>
                </c:pt>
                <c:pt idx="94">
                  <c:v>1.696</c:v>
                </c:pt>
                <c:pt idx="95">
                  <c:v>1.696</c:v>
                </c:pt>
                <c:pt idx="96">
                  <c:v>1.696</c:v>
                </c:pt>
                <c:pt idx="97">
                  <c:v>1.696</c:v>
                </c:pt>
                <c:pt idx="98">
                  <c:v>1.696</c:v>
                </c:pt>
                <c:pt idx="99">
                  <c:v>1.696</c:v>
                </c:pt>
                <c:pt idx="100">
                  <c:v>1.696</c:v>
                </c:pt>
                <c:pt idx="101">
                  <c:v>1.696</c:v>
                </c:pt>
                <c:pt idx="102">
                  <c:v>1.696</c:v>
                </c:pt>
                <c:pt idx="103">
                  <c:v>1.696</c:v>
                </c:pt>
                <c:pt idx="104">
                  <c:v>1.696</c:v>
                </c:pt>
                <c:pt idx="105">
                  <c:v>1.696</c:v>
                </c:pt>
                <c:pt idx="106">
                  <c:v>1.696</c:v>
                </c:pt>
                <c:pt idx="107">
                  <c:v>1.696</c:v>
                </c:pt>
                <c:pt idx="108">
                  <c:v>1.696</c:v>
                </c:pt>
                <c:pt idx="109">
                  <c:v>1.696</c:v>
                </c:pt>
                <c:pt idx="110">
                  <c:v>1.696</c:v>
                </c:pt>
                <c:pt idx="111">
                  <c:v>1.696</c:v>
                </c:pt>
                <c:pt idx="112">
                  <c:v>1.696</c:v>
                </c:pt>
                <c:pt idx="113">
                  <c:v>1.696</c:v>
                </c:pt>
                <c:pt idx="114">
                  <c:v>1.696</c:v>
                </c:pt>
                <c:pt idx="115">
                  <c:v>1.696</c:v>
                </c:pt>
                <c:pt idx="116">
                  <c:v>1.696</c:v>
                </c:pt>
                <c:pt idx="117">
                  <c:v>1.696</c:v>
                </c:pt>
                <c:pt idx="118">
                  <c:v>1.696</c:v>
                </c:pt>
                <c:pt idx="119">
                  <c:v>1.696</c:v>
                </c:pt>
                <c:pt idx="120">
                  <c:v>1.696</c:v>
                </c:pt>
                <c:pt idx="121">
                  <c:v>1.696</c:v>
                </c:pt>
                <c:pt idx="122">
                  <c:v>1.696</c:v>
                </c:pt>
                <c:pt idx="123">
                  <c:v>1.696</c:v>
                </c:pt>
                <c:pt idx="124">
                  <c:v>1.696</c:v>
                </c:pt>
                <c:pt idx="125">
                  <c:v>1.696</c:v>
                </c:pt>
                <c:pt idx="126">
                  <c:v>1.696</c:v>
                </c:pt>
                <c:pt idx="127">
                  <c:v>1.696</c:v>
                </c:pt>
                <c:pt idx="128">
                  <c:v>1.696</c:v>
                </c:pt>
                <c:pt idx="129">
                  <c:v>1.696</c:v>
                </c:pt>
                <c:pt idx="130">
                  <c:v>1.696</c:v>
                </c:pt>
                <c:pt idx="131">
                  <c:v>1.696</c:v>
                </c:pt>
                <c:pt idx="132">
                  <c:v>1.696</c:v>
                </c:pt>
                <c:pt idx="133">
                  <c:v>1.696</c:v>
                </c:pt>
                <c:pt idx="134">
                  <c:v>1.696</c:v>
                </c:pt>
                <c:pt idx="135">
                  <c:v>1.696</c:v>
                </c:pt>
                <c:pt idx="136">
                  <c:v>1.696</c:v>
                </c:pt>
                <c:pt idx="137">
                  <c:v>1.696</c:v>
                </c:pt>
                <c:pt idx="138">
                  <c:v>1.696</c:v>
                </c:pt>
                <c:pt idx="139">
                  <c:v>1.696</c:v>
                </c:pt>
                <c:pt idx="140">
                  <c:v>1.696</c:v>
                </c:pt>
                <c:pt idx="141">
                  <c:v>1.696</c:v>
                </c:pt>
                <c:pt idx="142">
                  <c:v>1.696</c:v>
                </c:pt>
                <c:pt idx="143">
                  <c:v>1.696</c:v>
                </c:pt>
                <c:pt idx="144">
                  <c:v>1.696</c:v>
                </c:pt>
                <c:pt idx="145">
                  <c:v>1.696</c:v>
                </c:pt>
                <c:pt idx="146">
                  <c:v>1.696</c:v>
                </c:pt>
                <c:pt idx="147">
                  <c:v>1.696</c:v>
                </c:pt>
                <c:pt idx="148">
                  <c:v>1.696</c:v>
                </c:pt>
                <c:pt idx="149">
                  <c:v>1.696</c:v>
                </c:pt>
                <c:pt idx="150">
                  <c:v>1.696</c:v>
                </c:pt>
                <c:pt idx="151">
                  <c:v>1.696</c:v>
                </c:pt>
                <c:pt idx="152">
                  <c:v>1.696</c:v>
                </c:pt>
                <c:pt idx="153">
                  <c:v>1.696</c:v>
                </c:pt>
                <c:pt idx="154">
                  <c:v>1.696</c:v>
                </c:pt>
                <c:pt idx="155">
                  <c:v>1.696</c:v>
                </c:pt>
                <c:pt idx="156">
                  <c:v>1.696</c:v>
                </c:pt>
                <c:pt idx="157">
                  <c:v>1.696</c:v>
                </c:pt>
                <c:pt idx="158">
                  <c:v>1.696</c:v>
                </c:pt>
                <c:pt idx="159">
                  <c:v>1.696</c:v>
                </c:pt>
                <c:pt idx="160">
                  <c:v>1.696</c:v>
                </c:pt>
                <c:pt idx="161">
                  <c:v>1.696</c:v>
                </c:pt>
                <c:pt idx="162">
                  <c:v>1.696</c:v>
                </c:pt>
                <c:pt idx="163">
                  <c:v>1.696</c:v>
                </c:pt>
                <c:pt idx="164">
                  <c:v>1.696</c:v>
                </c:pt>
                <c:pt idx="165">
                  <c:v>1.696</c:v>
                </c:pt>
                <c:pt idx="166">
                  <c:v>1.696</c:v>
                </c:pt>
                <c:pt idx="167">
                  <c:v>1.696</c:v>
                </c:pt>
                <c:pt idx="168">
                  <c:v>1.696</c:v>
                </c:pt>
                <c:pt idx="169">
                  <c:v>1.696</c:v>
                </c:pt>
                <c:pt idx="170">
                  <c:v>1.696</c:v>
                </c:pt>
                <c:pt idx="171">
                  <c:v>1.696</c:v>
                </c:pt>
                <c:pt idx="172">
                  <c:v>1.696</c:v>
                </c:pt>
                <c:pt idx="173">
                  <c:v>1.696</c:v>
                </c:pt>
                <c:pt idx="174">
                  <c:v>1.696</c:v>
                </c:pt>
                <c:pt idx="175">
                  <c:v>1.696</c:v>
                </c:pt>
                <c:pt idx="176">
                  <c:v>1.696</c:v>
                </c:pt>
                <c:pt idx="177">
                  <c:v>1.696</c:v>
                </c:pt>
                <c:pt idx="178">
                  <c:v>1.696</c:v>
                </c:pt>
                <c:pt idx="179">
                  <c:v>1.696</c:v>
                </c:pt>
                <c:pt idx="180">
                  <c:v>1.696</c:v>
                </c:pt>
                <c:pt idx="181">
                  <c:v>1.696</c:v>
                </c:pt>
                <c:pt idx="182">
                  <c:v>1.696</c:v>
                </c:pt>
                <c:pt idx="183">
                  <c:v>1.696</c:v>
                </c:pt>
                <c:pt idx="184">
                  <c:v>1.696</c:v>
                </c:pt>
                <c:pt idx="185">
                  <c:v>1.696</c:v>
                </c:pt>
                <c:pt idx="186">
                  <c:v>1.696</c:v>
                </c:pt>
                <c:pt idx="187">
                  <c:v>1.696</c:v>
                </c:pt>
                <c:pt idx="188">
                  <c:v>1.696</c:v>
                </c:pt>
                <c:pt idx="189">
                  <c:v>1.696</c:v>
                </c:pt>
                <c:pt idx="190">
                  <c:v>1.696</c:v>
                </c:pt>
                <c:pt idx="191">
                  <c:v>1.696</c:v>
                </c:pt>
                <c:pt idx="192">
                  <c:v>1.696</c:v>
                </c:pt>
                <c:pt idx="193">
                  <c:v>1.696</c:v>
                </c:pt>
                <c:pt idx="194">
                  <c:v>1.696</c:v>
                </c:pt>
                <c:pt idx="195">
                  <c:v>1.696</c:v>
                </c:pt>
                <c:pt idx="196">
                  <c:v>1.696</c:v>
                </c:pt>
                <c:pt idx="197">
                  <c:v>1.696</c:v>
                </c:pt>
                <c:pt idx="198">
                  <c:v>1.696</c:v>
                </c:pt>
                <c:pt idx="199">
                  <c:v>1.696</c:v>
                </c:pt>
                <c:pt idx="200">
                  <c:v>1.696</c:v>
                </c:pt>
                <c:pt idx="201">
                  <c:v>1.696</c:v>
                </c:pt>
                <c:pt idx="202">
                  <c:v>1.696</c:v>
                </c:pt>
                <c:pt idx="203">
                  <c:v>1.696</c:v>
                </c:pt>
                <c:pt idx="204">
                  <c:v>1.696</c:v>
                </c:pt>
                <c:pt idx="205">
                  <c:v>1.696</c:v>
                </c:pt>
                <c:pt idx="206">
                  <c:v>1.696</c:v>
                </c:pt>
                <c:pt idx="207">
                  <c:v>1.696</c:v>
                </c:pt>
                <c:pt idx="208">
                  <c:v>1.696</c:v>
                </c:pt>
                <c:pt idx="209">
                  <c:v>1.696</c:v>
                </c:pt>
                <c:pt idx="210">
                  <c:v>1.696</c:v>
                </c:pt>
                <c:pt idx="211">
                  <c:v>1.696</c:v>
                </c:pt>
                <c:pt idx="212">
                  <c:v>1.696</c:v>
                </c:pt>
                <c:pt idx="213">
                  <c:v>1.696</c:v>
                </c:pt>
                <c:pt idx="214">
                  <c:v>1.696</c:v>
                </c:pt>
                <c:pt idx="215">
                  <c:v>1.696</c:v>
                </c:pt>
                <c:pt idx="216">
                  <c:v>1.696</c:v>
                </c:pt>
                <c:pt idx="217">
                  <c:v>1.696</c:v>
                </c:pt>
                <c:pt idx="218">
                  <c:v>1.696</c:v>
                </c:pt>
                <c:pt idx="219">
                  <c:v>1.696</c:v>
                </c:pt>
                <c:pt idx="220">
                  <c:v>1.696</c:v>
                </c:pt>
                <c:pt idx="221">
                  <c:v>1.696</c:v>
                </c:pt>
                <c:pt idx="222">
                  <c:v>1.696</c:v>
                </c:pt>
                <c:pt idx="223">
                  <c:v>1.696</c:v>
                </c:pt>
                <c:pt idx="224">
                  <c:v>1.69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14B2-4341-B9D1-66DA8D0555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370082736"/>
        <c:axId val="-1370074032"/>
      </c:lineChart>
      <c:catAx>
        <c:axId val="-1370082736"/>
        <c:scaling>
          <c:orientation val="minMax"/>
        </c:scaling>
        <c:delete val="0"/>
        <c:axPos val="b"/>
        <c:numFmt formatCode="yyyy\-mm\-dd;@" sourceLinked="0"/>
        <c:majorTickMark val="out"/>
        <c:minorTickMark val="none"/>
        <c:tickLblPos val="low"/>
        <c:spPr>
          <a:noFill/>
          <a:ln w="6350">
            <a:solidFill>
              <a:sysClr val="windowText" lastClr="000000">
                <a:lumMod val="10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rgbClr val="000000"/>
                </a:solidFill>
                <a:latin typeface="仿宋_GB2312"/>
                <a:ea typeface="仿宋_GB2312"/>
                <a:cs typeface="仿宋_GB2312"/>
              </a:defRPr>
            </a:pPr>
            <a:endParaRPr lang="zh-CN"/>
          </a:p>
        </c:txPr>
        <c:crossAx val="-1370074032"/>
        <c:crosses val="autoZero"/>
        <c:auto val="1"/>
        <c:lblAlgn val="ctr"/>
        <c:lblOffset val="100"/>
        <c:noMultiLvlLbl val="1"/>
      </c:catAx>
      <c:valAx>
        <c:axId val="-1370074032"/>
        <c:scaling>
          <c:orientation val="minMax"/>
          <c:max val="4"/>
          <c:min val="-4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6350">
            <a:solidFill>
              <a:sysClr val="windowText" lastClr="000000">
                <a:lumMod val="10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rgbClr val="000000"/>
                </a:solidFill>
                <a:latin typeface="仿宋_GB2312"/>
                <a:ea typeface="仿宋_GB2312"/>
                <a:cs typeface="仿宋_GB2312"/>
              </a:defRPr>
            </a:pPr>
            <a:endParaRPr lang="zh-CN"/>
          </a:p>
        </c:txPr>
        <c:crossAx val="-1370082736"/>
        <c:crosses val="autoZero"/>
        <c:crossBetween val="between"/>
      </c:valAx>
      <c:spPr>
        <a:noFill/>
        <a:ln w="25400"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800">
          <a:latin typeface="仿宋_GB2312"/>
          <a:ea typeface="仿宋_GB2312"/>
          <a:cs typeface="仿宋_GB2312"/>
        </a:defRPr>
      </a:pPr>
      <a:endParaRPr lang="zh-CN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宏观打分历史分位数</c:v>
                </c:pt>
              </c:strCache>
            </c:strRef>
          </c:tx>
          <c:spPr>
            <a:ln w="19050">
              <a:solidFill>
                <a:srgbClr val="0070C0"/>
              </a:solidFill>
            </a:ln>
          </c:spPr>
          <c:marker>
            <c:symbol val="none"/>
          </c:marker>
          <c:cat>
            <c:numRef>
              <c:f>Sheet1!$A$249:$A$297</c:f>
              <c:numCache>
                <c:formatCode>yyyy\-mm\-dd</c:formatCode>
                <c:ptCount val="49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  <c:pt idx="48" formatCode="m/d/yyyy">
                  <c:v>45998</c:v>
                </c:pt>
              </c:numCache>
            </c:numRef>
          </c:cat>
          <c:val>
            <c:numRef>
              <c:f>Sheet1!$B$249:$B$297</c:f>
              <c:numCache>
                <c:formatCode>0.0%</c:formatCode>
                <c:ptCount val="49"/>
                <c:pt idx="0">
                  <c:v>0.60899999999999999</c:v>
                </c:pt>
                <c:pt idx="1">
                  <c:v>0.55800000000000005</c:v>
                </c:pt>
                <c:pt idx="2">
                  <c:v>0.77300000000000002</c:v>
                </c:pt>
                <c:pt idx="3">
                  <c:v>0.5</c:v>
                </c:pt>
                <c:pt idx="4">
                  <c:v>0.27</c:v>
                </c:pt>
                <c:pt idx="5">
                  <c:v>0.64900000000000002</c:v>
                </c:pt>
                <c:pt idx="6">
                  <c:v>0.70799999999999996</c:v>
                </c:pt>
                <c:pt idx="7">
                  <c:v>0.78400000000000003</c:v>
                </c:pt>
                <c:pt idx="8">
                  <c:v>0.69299999999999995</c:v>
                </c:pt>
                <c:pt idx="9">
                  <c:v>0.2</c:v>
                </c:pt>
                <c:pt idx="10">
                  <c:v>0.17100000000000001</c:v>
                </c:pt>
                <c:pt idx="11">
                  <c:v>0.16</c:v>
                </c:pt>
                <c:pt idx="12">
                  <c:v>0.29499999999999998</c:v>
                </c:pt>
                <c:pt idx="13">
                  <c:v>0.38300000000000001</c:v>
                </c:pt>
                <c:pt idx="14">
                  <c:v>0.7</c:v>
                </c:pt>
                <c:pt idx="15">
                  <c:v>0.66</c:v>
                </c:pt>
                <c:pt idx="16">
                  <c:v>0.68899999999999995</c:v>
                </c:pt>
                <c:pt idx="17">
                  <c:v>0.63500000000000001</c:v>
                </c:pt>
                <c:pt idx="18">
                  <c:v>0.61599999999999999</c:v>
                </c:pt>
                <c:pt idx="19">
                  <c:v>0.81299999999999994</c:v>
                </c:pt>
                <c:pt idx="20">
                  <c:v>0.77700000000000002</c:v>
                </c:pt>
                <c:pt idx="21">
                  <c:v>0.79100000000000004</c:v>
                </c:pt>
                <c:pt idx="22">
                  <c:v>0.76200000000000001</c:v>
                </c:pt>
                <c:pt idx="23">
                  <c:v>0.64200000000000002</c:v>
                </c:pt>
                <c:pt idx="24">
                  <c:v>0.73699999999999999</c:v>
                </c:pt>
                <c:pt idx="25">
                  <c:v>0.65300000000000002</c:v>
                </c:pt>
                <c:pt idx="26">
                  <c:v>0.59799999999999998</c:v>
                </c:pt>
                <c:pt idx="27">
                  <c:v>0.67500000000000004</c:v>
                </c:pt>
                <c:pt idx="28">
                  <c:v>0.71699999999999997</c:v>
                </c:pt>
                <c:pt idx="29">
                  <c:v>0.79300000000000004</c:v>
                </c:pt>
                <c:pt idx="30">
                  <c:v>0.7</c:v>
                </c:pt>
                <c:pt idx="31">
                  <c:v>0.79200000000000004</c:v>
                </c:pt>
                <c:pt idx="32">
                  <c:v>0.83199999999999996</c:v>
                </c:pt>
                <c:pt idx="33">
                  <c:v>0.79600000000000004</c:v>
                </c:pt>
                <c:pt idx="34" formatCode="0.00%">
                  <c:v>0.80700000000000005</c:v>
                </c:pt>
                <c:pt idx="35" formatCode="0.00%">
                  <c:v>0.77300000000000002</c:v>
                </c:pt>
                <c:pt idx="36" formatCode="0.00%">
                  <c:v>0.48699999999999999</c:v>
                </c:pt>
                <c:pt idx="37" formatCode="0.00%">
                  <c:v>0.56999999999999995</c:v>
                </c:pt>
                <c:pt idx="38" formatCode="0.00%">
                  <c:v>0.58499999999999996</c:v>
                </c:pt>
                <c:pt idx="39" formatCode="0.00%">
                  <c:v>0.69</c:v>
                </c:pt>
                <c:pt idx="40" formatCode="0.00%">
                  <c:v>0.623</c:v>
                </c:pt>
                <c:pt idx="41" formatCode="0.00%">
                  <c:v>0.56200000000000006</c:v>
                </c:pt>
                <c:pt idx="42" formatCode="0.00%">
                  <c:v>0.50800000000000001</c:v>
                </c:pt>
                <c:pt idx="43" formatCode="0.00%">
                  <c:v>0.57199999999999995</c:v>
                </c:pt>
                <c:pt idx="44" formatCode="0.00%">
                  <c:v>0.82399999999999995</c:v>
                </c:pt>
                <c:pt idx="45" formatCode="0.00%">
                  <c:v>0.746</c:v>
                </c:pt>
                <c:pt idx="46" formatCode="0.00%">
                  <c:v>0.80500000000000005</c:v>
                </c:pt>
                <c:pt idx="47" formatCode="0.00%">
                  <c:v>0.64900000000000002</c:v>
                </c:pt>
                <c:pt idx="48" formatCode="0.00%">
                  <c:v>0.7319999999999999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4E3-4CF4-8E20-F777CF5323F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ln w="190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Sheet1!$A$249:$A$297</c:f>
              <c:numCache>
                <c:formatCode>yyyy\-mm\-dd</c:formatCode>
                <c:ptCount val="49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  <c:pt idx="48" formatCode="m/d/yyyy">
                  <c:v>45998</c:v>
                </c:pt>
              </c:numCache>
            </c:numRef>
          </c:cat>
          <c:val>
            <c:numRef>
              <c:f>Sheet1!$C$249:$C$297</c:f>
              <c:numCache>
                <c:formatCode>0%</c:formatCode>
                <c:ptCount val="49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4E3-4CF4-8E20-F777CF5323F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ln w="19050">
              <a:solidFill>
                <a:srgbClr val="0D97FF"/>
              </a:solidFill>
            </a:ln>
          </c:spPr>
          <c:marker>
            <c:symbol val="none"/>
          </c:marker>
          <c:cat>
            <c:numRef>
              <c:f>Sheet1!$A$249:$A$297</c:f>
              <c:numCache>
                <c:formatCode>yyyy\-mm\-dd</c:formatCode>
                <c:ptCount val="49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  <c:pt idx="48" formatCode="m/d/yyyy">
                  <c:v>45998</c:v>
                </c:pt>
              </c:numCache>
            </c:numRef>
          </c:cat>
          <c:val>
            <c:numRef>
              <c:f>Sheet1!$D$249:$D$297</c:f>
              <c:numCache>
                <c:formatCode>0%</c:formatCode>
                <c:ptCount val="49"/>
                <c:pt idx="0">
                  <c:v>0.9</c:v>
                </c:pt>
                <c:pt idx="1">
                  <c:v>0.9</c:v>
                </c:pt>
                <c:pt idx="2">
                  <c:v>0.9</c:v>
                </c:pt>
                <c:pt idx="3">
                  <c:v>0.9</c:v>
                </c:pt>
                <c:pt idx="4">
                  <c:v>0.9</c:v>
                </c:pt>
                <c:pt idx="5">
                  <c:v>0.9</c:v>
                </c:pt>
                <c:pt idx="6">
                  <c:v>0.9</c:v>
                </c:pt>
                <c:pt idx="7">
                  <c:v>0.9</c:v>
                </c:pt>
                <c:pt idx="8">
                  <c:v>0.9</c:v>
                </c:pt>
                <c:pt idx="9">
                  <c:v>0.9</c:v>
                </c:pt>
                <c:pt idx="10">
                  <c:v>0.9</c:v>
                </c:pt>
                <c:pt idx="11">
                  <c:v>0.9</c:v>
                </c:pt>
                <c:pt idx="12">
                  <c:v>0.9</c:v>
                </c:pt>
                <c:pt idx="13">
                  <c:v>0.9</c:v>
                </c:pt>
                <c:pt idx="14">
                  <c:v>0.9</c:v>
                </c:pt>
                <c:pt idx="15">
                  <c:v>0.9</c:v>
                </c:pt>
                <c:pt idx="16">
                  <c:v>0.9</c:v>
                </c:pt>
                <c:pt idx="17">
                  <c:v>0.9</c:v>
                </c:pt>
                <c:pt idx="18">
                  <c:v>0.9</c:v>
                </c:pt>
                <c:pt idx="19">
                  <c:v>0.9</c:v>
                </c:pt>
                <c:pt idx="20">
                  <c:v>0.9</c:v>
                </c:pt>
                <c:pt idx="21">
                  <c:v>0.9</c:v>
                </c:pt>
                <c:pt idx="22">
                  <c:v>0.9</c:v>
                </c:pt>
                <c:pt idx="23">
                  <c:v>0.9</c:v>
                </c:pt>
                <c:pt idx="24">
                  <c:v>0.9</c:v>
                </c:pt>
                <c:pt idx="25">
                  <c:v>0.9</c:v>
                </c:pt>
                <c:pt idx="26">
                  <c:v>0.9</c:v>
                </c:pt>
                <c:pt idx="27">
                  <c:v>0.9</c:v>
                </c:pt>
                <c:pt idx="28">
                  <c:v>0.9</c:v>
                </c:pt>
                <c:pt idx="29">
                  <c:v>0.9</c:v>
                </c:pt>
                <c:pt idx="30">
                  <c:v>0.9</c:v>
                </c:pt>
                <c:pt idx="31">
                  <c:v>0.9</c:v>
                </c:pt>
                <c:pt idx="32">
                  <c:v>0.9</c:v>
                </c:pt>
                <c:pt idx="33">
                  <c:v>0.9</c:v>
                </c:pt>
                <c:pt idx="34">
                  <c:v>0.9</c:v>
                </c:pt>
                <c:pt idx="35">
                  <c:v>0.9</c:v>
                </c:pt>
                <c:pt idx="36">
                  <c:v>0.9</c:v>
                </c:pt>
                <c:pt idx="37">
                  <c:v>0.9</c:v>
                </c:pt>
                <c:pt idx="38">
                  <c:v>0.9</c:v>
                </c:pt>
                <c:pt idx="39">
                  <c:v>0.9</c:v>
                </c:pt>
                <c:pt idx="40">
                  <c:v>0.9</c:v>
                </c:pt>
                <c:pt idx="41">
                  <c:v>0.9</c:v>
                </c:pt>
                <c:pt idx="42">
                  <c:v>0.9</c:v>
                </c:pt>
                <c:pt idx="43">
                  <c:v>0.9</c:v>
                </c:pt>
                <c:pt idx="44">
                  <c:v>0.9</c:v>
                </c:pt>
                <c:pt idx="45">
                  <c:v>0.9</c:v>
                </c:pt>
                <c:pt idx="46">
                  <c:v>0.9</c:v>
                </c:pt>
                <c:pt idx="47">
                  <c:v>0.9</c:v>
                </c:pt>
                <c:pt idx="48">
                  <c:v>0.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8-612A-4425-8DAE-0752072062F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</c:strCache>
            </c:strRef>
          </c:tx>
          <c:spPr>
            <a:ln w="19050">
              <a:solidFill>
                <a:srgbClr val="FFB3B3"/>
              </a:solidFill>
            </a:ln>
          </c:spPr>
          <c:marker>
            <c:symbol val="none"/>
          </c:marker>
          <c:cat>
            <c:numRef>
              <c:f>Sheet1!$A$249:$A$297</c:f>
              <c:numCache>
                <c:formatCode>yyyy\-mm\-dd</c:formatCode>
                <c:ptCount val="49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  <c:pt idx="48" formatCode="m/d/yyyy">
                  <c:v>45998</c:v>
                </c:pt>
              </c:numCache>
            </c:numRef>
          </c:cat>
          <c:val>
            <c:numRef>
              <c:f>Sheet1!$E$249:$E$297</c:f>
              <c:numCache>
                <c:formatCode>0%</c:formatCode>
                <c:ptCount val="49"/>
                <c:pt idx="0">
                  <c:v>0.69</c:v>
                </c:pt>
                <c:pt idx="1">
                  <c:v>0.69</c:v>
                </c:pt>
                <c:pt idx="2">
                  <c:v>0.69</c:v>
                </c:pt>
                <c:pt idx="3">
                  <c:v>0.69</c:v>
                </c:pt>
                <c:pt idx="4">
                  <c:v>0.69</c:v>
                </c:pt>
                <c:pt idx="5">
                  <c:v>0.69</c:v>
                </c:pt>
                <c:pt idx="6">
                  <c:v>0.69</c:v>
                </c:pt>
                <c:pt idx="7">
                  <c:v>0.69</c:v>
                </c:pt>
                <c:pt idx="8">
                  <c:v>0.69</c:v>
                </c:pt>
                <c:pt idx="9">
                  <c:v>0.69</c:v>
                </c:pt>
                <c:pt idx="10">
                  <c:v>0.69</c:v>
                </c:pt>
                <c:pt idx="11">
                  <c:v>0.69</c:v>
                </c:pt>
                <c:pt idx="12">
                  <c:v>0.69</c:v>
                </c:pt>
                <c:pt idx="13">
                  <c:v>0.69</c:v>
                </c:pt>
                <c:pt idx="14">
                  <c:v>0.69</c:v>
                </c:pt>
                <c:pt idx="15">
                  <c:v>0.69</c:v>
                </c:pt>
                <c:pt idx="16">
                  <c:v>0.69</c:v>
                </c:pt>
                <c:pt idx="17">
                  <c:v>0.69</c:v>
                </c:pt>
                <c:pt idx="18">
                  <c:v>0.69</c:v>
                </c:pt>
                <c:pt idx="19">
                  <c:v>0.69</c:v>
                </c:pt>
                <c:pt idx="20">
                  <c:v>0.69</c:v>
                </c:pt>
                <c:pt idx="21">
                  <c:v>0.69</c:v>
                </c:pt>
                <c:pt idx="22">
                  <c:v>0.69</c:v>
                </c:pt>
                <c:pt idx="23">
                  <c:v>0.69</c:v>
                </c:pt>
                <c:pt idx="24">
                  <c:v>0.69</c:v>
                </c:pt>
                <c:pt idx="25">
                  <c:v>0.69</c:v>
                </c:pt>
                <c:pt idx="26">
                  <c:v>0.69</c:v>
                </c:pt>
                <c:pt idx="27">
                  <c:v>0.69</c:v>
                </c:pt>
                <c:pt idx="28">
                  <c:v>0.69</c:v>
                </c:pt>
                <c:pt idx="29">
                  <c:v>0.69</c:v>
                </c:pt>
                <c:pt idx="30">
                  <c:v>0.69</c:v>
                </c:pt>
                <c:pt idx="31">
                  <c:v>0.69</c:v>
                </c:pt>
                <c:pt idx="32">
                  <c:v>0.69</c:v>
                </c:pt>
                <c:pt idx="33">
                  <c:v>0.69</c:v>
                </c:pt>
                <c:pt idx="34">
                  <c:v>0.69</c:v>
                </c:pt>
                <c:pt idx="35">
                  <c:v>0.69</c:v>
                </c:pt>
                <c:pt idx="36">
                  <c:v>0.69</c:v>
                </c:pt>
                <c:pt idx="37">
                  <c:v>0.69</c:v>
                </c:pt>
                <c:pt idx="38">
                  <c:v>0.69</c:v>
                </c:pt>
                <c:pt idx="39">
                  <c:v>0.69</c:v>
                </c:pt>
                <c:pt idx="40">
                  <c:v>0.69</c:v>
                </c:pt>
                <c:pt idx="41">
                  <c:v>0.69</c:v>
                </c:pt>
                <c:pt idx="42">
                  <c:v>0.69</c:v>
                </c:pt>
                <c:pt idx="43">
                  <c:v>0.69</c:v>
                </c:pt>
                <c:pt idx="44">
                  <c:v>0.69</c:v>
                </c:pt>
                <c:pt idx="45">
                  <c:v>0.69</c:v>
                </c:pt>
                <c:pt idx="46">
                  <c:v>0.69</c:v>
                </c:pt>
                <c:pt idx="47">
                  <c:v>0.69</c:v>
                </c:pt>
                <c:pt idx="48">
                  <c:v>0.6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612A-4425-8DAE-0752072062F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19050">
              <a:solidFill>
                <a:srgbClr val="75C4FF"/>
              </a:solidFill>
            </a:ln>
          </c:spPr>
          <c:marker>
            <c:symbol val="none"/>
          </c:marker>
          <c:cat>
            <c:numRef>
              <c:f>Sheet1!$A$249:$A$297</c:f>
              <c:numCache>
                <c:formatCode>yyyy\-mm\-dd</c:formatCode>
                <c:ptCount val="49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  <c:pt idx="48" formatCode="m/d/yyyy">
                  <c:v>45998</c:v>
                </c:pt>
              </c:numCache>
            </c:numRef>
          </c:cat>
          <c:val>
            <c:numRef>
              <c:f>Sheet1!$F$249:$F$297</c:f>
              <c:numCache>
                <c:formatCode>0.00%</c:formatCode>
                <c:ptCount val="49"/>
                <c:pt idx="0">
                  <c:v>0.36499999999999999</c:v>
                </c:pt>
                <c:pt idx="1">
                  <c:v>0.36499999999999999</c:v>
                </c:pt>
                <c:pt idx="2">
                  <c:v>0.36499999999999999</c:v>
                </c:pt>
                <c:pt idx="3">
                  <c:v>0.36499999999999999</c:v>
                </c:pt>
                <c:pt idx="4">
                  <c:v>0.36499999999999999</c:v>
                </c:pt>
                <c:pt idx="5">
                  <c:v>0.36499999999999999</c:v>
                </c:pt>
                <c:pt idx="6">
                  <c:v>0.36499999999999999</c:v>
                </c:pt>
                <c:pt idx="7">
                  <c:v>0.36499999999999999</c:v>
                </c:pt>
                <c:pt idx="8">
                  <c:v>0.36499999999999999</c:v>
                </c:pt>
                <c:pt idx="9">
                  <c:v>0.36499999999999999</c:v>
                </c:pt>
                <c:pt idx="10">
                  <c:v>0.36499999999999999</c:v>
                </c:pt>
                <c:pt idx="11">
                  <c:v>0.36499999999999999</c:v>
                </c:pt>
                <c:pt idx="12">
                  <c:v>0.36499999999999999</c:v>
                </c:pt>
                <c:pt idx="13">
                  <c:v>0.36499999999999999</c:v>
                </c:pt>
                <c:pt idx="14">
                  <c:v>0.36499999999999999</c:v>
                </c:pt>
                <c:pt idx="15">
                  <c:v>0.36499999999999999</c:v>
                </c:pt>
                <c:pt idx="16">
                  <c:v>0.36499999999999999</c:v>
                </c:pt>
                <c:pt idx="17">
                  <c:v>0.36499999999999999</c:v>
                </c:pt>
                <c:pt idx="18">
                  <c:v>0.36499999999999999</c:v>
                </c:pt>
                <c:pt idx="19">
                  <c:v>0.36499999999999999</c:v>
                </c:pt>
                <c:pt idx="20">
                  <c:v>0.36499999999999999</c:v>
                </c:pt>
                <c:pt idx="21">
                  <c:v>0.36499999999999999</c:v>
                </c:pt>
                <c:pt idx="22">
                  <c:v>0.36499999999999999</c:v>
                </c:pt>
                <c:pt idx="23">
                  <c:v>0.36499999999999999</c:v>
                </c:pt>
                <c:pt idx="24">
                  <c:v>0.36499999999999999</c:v>
                </c:pt>
                <c:pt idx="25">
                  <c:v>0.36499999999999999</c:v>
                </c:pt>
                <c:pt idx="26">
                  <c:v>0.36499999999999999</c:v>
                </c:pt>
                <c:pt idx="27">
                  <c:v>0.36499999999999999</c:v>
                </c:pt>
                <c:pt idx="28">
                  <c:v>0.36499999999999999</c:v>
                </c:pt>
                <c:pt idx="29">
                  <c:v>0.36499999999999999</c:v>
                </c:pt>
                <c:pt idx="30">
                  <c:v>0.36499999999999999</c:v>
                </c:pt>
                <c:pt idx="31">
                  <c:v>0.36499999999999999</c:v>
                </c:pt>
                <c:pt idx="32">
                  <c:v>0.36499999999999999</c:v>
                </c:pt>
                <c:pt idx="33">
                  <c:v>0.36499999999999999</c:v>
                </c:pt>
                <c:pt idx="34">
                  <c:v>0.36499999999999999</c:v>
                </c:pt>
                <c:pt idx="35">
                  <c:v>0.36499999999999999</c:v>
                </c:pt>
                <c:pt idx="36">
                  <c:v>0.36499999999999999</c:v>
                </c:pt>
                <c:pt idx="37">
                  <c:v>0.36499999999999999</c:v>
                </c:pt>
                <c:pt idx="38">
                  <c:v>0.36499999999999999</c:v>
                </c:pt>
                <c:pt idx="39">
                  <c:v>0.36499999999999999</c:v>
                </c:pt>
                <c:pt idx="40">
                  <c:v>0.36499999999999999</c:v>
                </c:pt>
                <c:pt idx="41">
                  <c:v>0.36499999999999999</c:v>
                </c:pt>
                <c:pt idx="42">
                  <c:v>0.36499999999999999</c:v>
                </c:pt>
                <c:pt idx="43">
                  <c:v>0.36499999999999999</c:v>
                </c:pt>
                <c:pt idx="44">
                  <c:v>0.36499999999999999</c:v>
                </c:pt>
                <c:pt idx="45">
                  <c:v>0.36499999999999999</c:v>
                </c:pt>
                <c:pt idx="46">
                  <c:v>0.36499999999999999</c:v>
                </c:pt>
                <c:pt idx="47">
                  <c:v>0.36499999999999999</c:v>
                </c:pt>
                <c:pt idx="48">
                  <c:v>0.3649999999999999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612A-4425-8DAE-0752072062F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19050">
              <a:solidFill>
                <a:srgbClr val="878787"/>
              </a:solidFill>
            </a:ln>
          </c:spPr>
          <c:marker>
            <c:symbol val="none"/>
          </c:marker>
          <c:cat>
            <c:numRef>
              <c:f>Sheet1!$A$249:$A$297</c:f>
              <c:numCache>
                <c:formatCode>yyyy\-mm\-dd</c:formatCode>
                <c:ptCount val="49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  <c:pt idx="48" formatCode="m/d/yyyy">
                  <c:v>45998</c:v>
                </c:pt>
              </c:numCache>
            </c:numRef>
          </c:cat>
          <c:val>
            <c:numRef>
              <c:f>Sheet1!$G$249:$G$297</c:f>
              <c:numCache>
                <c:formatCode>0%</c:formatCode>
                <c:ptCount val="49"/>
                <c:pt idx="0">
                  <c:v>0.2</c:v>
                </c:pt>
                <c:pt idx="1">
                  <c:v>0.2</c:v>
                </c:pt>
                <c:pt idx="2">
                  <c:v>0.2</c:v>
                </c:pt>
                <c:pt idx="3">
                  <c:v>0.2</c:v>
                </c:pt>
                <c:pt idx="4">
                  <c:v>0.2</c:v>
                </c:pt>
                <c:pt idx="5">
                  <c:v>0.2</c:v>
                </c:pt>
                <c:pt idx="6">
                  <c:v>0.2</c:v>
                </c:pt>
                <c:pt idx="7">
                  <c:v>0.2</c:v>
                </c:pt>
                <c:pt idx="8">
                  <c:v>0.2</c:v>
                </c:pt>
                <c:pt idx="9">
                  <c:v>0.2</c:v>
                </c:pt>
                <c:pt idx="10">
                  <c:v>0.2</c:v>
                </c:pt>
                <c:pt idx="11">
                  <c:v>0.2</c:v>
                </c:pt>
                <c:pt idx="12">
                  <c:v>0.2</c:v>
                </c:pt>
                <c:pt idx="13">
                  <c:v>0.2</c:v>
                </c:pt>
                <c:pt idx="14">
                  <c:v>0.2</c:v>
                </c:pt>
                <c:pt idx="15">
                  <c:v>0.2</c:v>
                </c:pt>
                <c:pt idx="16">
                  <c:v>0.2</c:v>
                </c:pt>
                <c:pt idx="17">
                  <c:v>0.2</c:v>
                </c:pt>
                <c:pt idx="18">
                  <c:v>0.2</c:v>
                </c:pt>
                <c:pt idx="19">
                  <c:v>0.2</c:v>
                </c:pt>
                <c:pt idx="20">
                  <c:v>0.2</c:v>
                </c:pt>
                <c:pt idx="21">
                  <c:v>0.2</c:v>
                </c:pt>
                <c:pt idx="22">
                  <c:v>0.2</c:v>
                </c:pt>
                <c:pt idx="23">
                  <c:v>0.2</c:v>
                </c:pt>
                <c:pt idx="24">
                  <c:v>0.2</c:v>
                </c:pt>
                <c:pt idx="25">
                  <c:v>0.2</c:v>
                </c:pt>
                <c:pt idx="26">
                  <c:v>0.2</c:v>
                </c:pt>
                <c:pt idx="27">
                  <c:v>0.2</c:v>
                </c:pt>
                <c:pt idx="28">
                  <c:v>0.2</c:v>
                </c:pt>
                <c:pt idx="29">
                  <c:v>0.2</c:v>
                </c:pt>
                <c:pt idx="30">
                  <c:v>0.2</c:v>
                </c:pt>
                <c:pt idx="31">
                  <c:v>0.2</c:v>
                </c:pt>
                <c:pt idx="32">
                  <c:v>0.2</c:v>
                </c:pt>
                <c:pt idx="33">
                  <c:v>0.2</c:v>
                </c:pt>
                <c:pt idx="34">
                  <c:v>0.2</c:v>
                </c:pt>
                <c:pt idx="35">
                  <c:v>0.2</c:v>
                </c:pt>
                <c:pt idx="36">
                  <c:v>0.2</c:v>
                </c:pt>
                <c:pt idx="37">
                  <c:v>0.2</c:v>
                </c:pt>
                <c:pt idx="38">
                  <c:v>0.2</c:v>
                </c:pt>
                <c:pt idx="39">
                  <c:v>0.2</c:v>
                </c:pt>
                <c:pt idx="40">
                  <c:v>0.2</c:v>
                </c:pt>
                <c:pt idx="41">
                  <c:v>0.2</c:v>
                </c:pt>
                <c:pt idx="42">
                  <c:v>0.2</c:v>
                </c:pt>
                <c:pt idx="43">
                  <c:v>0.2</c:v>
                </c:pt>
                <c:pt idx="44">
                  <c:v>0.2</c:v>
                </c:pt>
                <c:pt idx="45">
                  <c:v>0.2</c:v>
                </c:pt>
                <c:pt idx="46">
                  <c:v>0.2</c:v>
                </c:pt>
                <c:pt idx="47">
                  <c:v>0.2</c:v>
                </c:pt>
                <c:pt idx="48">
                  <c:v>0.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B-612A-4425-8DAE-0752072062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350154288"/>
        <c:axId val="-1350173872"/>
      </c:lineChart>
      <c:dateAx>
        <c:axId val="-1350154288"/>
        <c:scaling>
          <c:orientation val="minMax"/>
        </c:scaling>
        <c:delete val="0"/>
        <c:axPos val="b"/>
        <c:numFmt formatCode="yyyy\-mm\-dd" sourceLinked="1"/>
        <c:majorTickMark val="out"/>
        <c:minorTickMark val="none"/>
        <c:tickLblPos val="nextTo"/>
        <c:spPr>
          <a:noFill/>
          <a:ln w="6350">
            <a:solidFill>
              <a:sysClr val="windowText" lastClr="000000">
                <a:lumMod val="10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rgbClr val="000000"/>
                </a:solidFill>
                <a:latin typeface="仿宋_GB2312"/>
                <a:ea typeface="仿宋_GB2312"/>
                <a:cs typeface="仿宋_GB2312"/>
              </a:defRPr>
            </a:pPr>
            <a:endParaRPr lang="zh-CN"/>
          </a:p>
        </c:txPr>
        <c:crossAx val="-1350173872"/>
        <c:crosses val="autoZero"/>
        <c:auto val="1"/>
        <c:lblOffset val="100"/>
        <c:baseTimeUnit val="days"/>
      </c:dateAx>
      <c:valAx>
        <c:axId val="-1350173872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6350">
            <a:solidFill>
              <a:sysClr val="windowText" lastClr="000000">
                <a:lumMod val="10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rgbClr val="000000"/>
                </a:solidFill>
                <a:latin typeface="仿宋_GB2312"/>
                <a:ea typeface="仿宋_GB2312"/>
                <a:cs typeface="仿宋_GB2312"/>
              </a:defRPr>
            </a:pPr>
            <a:endParaRPr lang="zh-CN"/>
          </a:p>
        </c:txPr>
        <c:crossAx val="-1350154288"/>
        <c:crosses val="autoZero"/>
        <c:crossBetween val="between"/>
      </c:valAx>
      <c:spPr>
        <a:noFill/>
        <a:ln w="25400"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ln w="25400">
          <a:noFill/>
        </a:ln>
      </c:spPr>
      <c:txPr>
        <a:bodyPr/>
        <a:lstStyle/>
        <a:p>
          <a:pPr>
            <a:defRPr sz="800" baseline="0">
              <a:solidFill>
                <a:srgbClr val="000000"/>
              </a:solidFill>
              <a:latin typeface="仿宋_GB2312" panose="02010609030101010101" pitchFamily="49" charset="-122"/>
              <a:ea typeface="仿宋_GB2312" panose="02010609030101010101" pitchFamily="49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800">
          <a:latin typeface="仿宋_GB2312"/>
          <a:ea typeface="仿宋_GB2312"/>
          <a:cs typeface="仿宋_GB2312"/>
        </a:defRPr>
      </a:pPr>
      <a:endParaRPr lang="zh-CN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b="1"/>
              <a:t>股票择时模型</a:t>
            </a:r>
            <a:r>
              <a:rPr lang="zh-CN" altLang="en-US" b="1" baseline="0"/>
              <a:t>六维度底层指标   所处历史分位数</a:t>
            </a:r>
            <a:endParaRPr lang="zh-CN" altLang="en-US" b="1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7.1843091206336168E-2"/>
          <c:y val="0.19927539074452111"/>
          <c:w val="0.91783630589562093"/>
          <c:h val="0.50508239690333645"/>
        </c:manualLayout>
      </c:layout>
      <c:lineChart>
        <c:grouping val="standard"/>
        <c:varyColors val="0"/>
        <c:ser>
          <c:idx val="5"/>
          <c:order val="0"/>
          <c:tx>
            <c:strRef>
              <c:f>股票择时信号!$AA$7</c:f>
              <c:strCache>
                <c:ptCount val="1"/>
                <c:pt idx="0">
                  <c:v>r007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6</c:f>
              <c:numCache>
                <c:formatCode>yyyy\-mm\-dd</c:formatCode>
                <c:ptCount val="296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  <c:pt idx="295">
                  <c:v>45998</c:v>
                </c:pt>
              </c:numCache>
            </c:numRef>
          </c:cat>
          <c:val>
            <c:numRef>
              <c:f>股票择时信号!$AA$11:$AA$306</c:f>
              <c:numCache>
                <c:formatCode>0.0%</c:formatCode>
                <c:ptCount val="296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.5</c:v>
                </c:pt>
                <c:pt idx="5">
                  <c:v>0</c:v>
                </c:pt>
                <c:pt idx="6">
                  <c:v>0.66600000000000004</c:v>
                </c:pt>
                <c:pt idx="7">
                  <c:v>1</c:v>
                </c:pt>
                <c:pt idx="8">
                  <c:v>0.875</c:v>
                </c:pt>
                <c:pt idx="9">
                  <c:v>0.88800000000000001</c:v>
                </c:pt>
                <c:pt idx="10">
                  <c:v>0.9</c:v>
                </c:pt>
                <c:pt idx="11">
                  <c:v>0.72699999999999998</c:v>
                </c:pt>
                <c:pt idx="12">
                  <c:v>1</c:v>
                </c:pt>
                <c:pt idx="13">
                  <c:v>0.92300000000000004</c:v>
                </c:pt>
                <c:pt idx="14">
                  <c:v>0.92800000000000005</c:v>
                </c:pt>
                <c:pt idx="15">
                  <c:v>0.8</c:v>
                </c:pt>
                <c:pt idx="16">
                  <c:v>0.875</c:v>
                </c:pt>
                <c:pt idx="17">
                  <c:v>0.82299999999999995</c:v>
                </c:pt>
                <c:pt idx="18">
                  <c:v>0.66600000000000004</c:v>
                </c:pt>
                <c:pt idx="19">
                  <c:v>0.78900000000000003</c:v>
                </c:pt>
                <c:pt idx="20">
                  <c:v>0.7</c:v>
                </c:pt>
                <c:pt idx="21">
                  <c:v>0.95199999999999996</c:v>
                </c:pt>
                <c:pt idx="22">
                  <c:v>0.45400000000000001</c:v>
                </c:pt>
                <c:pt idx="23">
                  <c:v>0.95599999999999996</c:v>
                </c:pt>
                <c:pt idx="24">
                  <c:v>0.625</c:v>
                </c:pt>
                <c:pt idx="25">
                  <c:v>0.96</c:v>
                </c:pt>
                <c:pt idx="26">
                  <c:v>0.61499999999999999</c:v>
                </c:pt>
                <c:pt idx="27">
                  <c:v>0.629</c:v>
                </c:pt>
                <c:pt idx="28">
                  <c:v>0.78500000000000003</c:v>
                </c:pt>
                <c:pt idx="29">
                  <c:v>1</c:v>
                </c:pt>
                <c:pt idx="30">
                  <c:v>0.433</c:v>
                </c:pt>
                <c:pt idx="31">
                  <c:v>0.96699999999999997</c:v>
                </c:pt>
                <c:pt idx="32">
                  <c:v>0.56200000000000006</c:v>
                </c:pt>
                <c:pt idx="33">
                  <c:v>0.33300000000000002</c:v>
                </c:pt>
                <c:pt idx="34">
                  <c:v>0.441</c:v>
                </c:pt>
                <c:pt idx="35">
                  <c:v>1</c:v>
                </c:pt>
                <c:pt idx="36">
                  <c:v>1</c:v>
                </c:pt>
                <c:pt idx="37">
                  <c:v>0.97199999999999998</c:v>
                </c:pt>
                <c:pt idx="38">
                  <c:v>0.23599999999999999</c:v>
                </c:pt>
                <c:pt idx="39">
                  <c:v>0.25600000000000001</c:v>
                </c:pt>
                <c:pt idx="40">
                  <c:v>0.8</c:v>
                </c:pt>
                <c:pt idx="41">
                  <c:v>0.80400000000000005</c:v>
                </c:pt>
                <c:pt idx="42">
                  <c:v>0.95199999999999996</c:v>
                </c:pt>
                <c:pt idx="43">
                  <c:v>0.72</c:v>
                </c:pt>
                <c:pt idx="44">
                  <c:v>0.36299999999999999</c:v>
                </c:pt>
                <c:pt idx="45">
                  <c:v>0.35499999999999998</c:v>
                </c:pt>
                <c:pt idx="46">
                  <c:v>0.63</c:v>
                </c:pt>
                <c:pt idx="47">
                  <c:v>0.59499999999999997</c:v>
                </c:pt>
                <c:pt idx="48">
                  <c:v>0.14499999999999999</c:v>
                </c:pt>
                <c:pt idx="49">
                  <c:v>0.42799999999999999</c:v>
                </c:pt>
                <c:pt idx="50">
                  <c:v>0.22</c:v>
                </c:pt>
                <c:pt idx="51">
                  <c:v>0.76400000000000001</c:v>
                </c:pt>
                <c:pt idx="52">
                  <c:v>0.32600000000000001</c:v>
                </c:pt>
                <c:pt idx="53">
                  <c:v>0.26400000000000001</c:v>
                </c:pt>
                <c:pt idx="54">
                  <c:v>0.40699999999999997</c:v>
                </c:pt>
                <c:pt idx="55">
                  <c:v>0.8</c:v>
                </c:pt>
                <c:pt idx="56">
                  <c:v>0.107</c:v>
                </c:pt>
                <c:pt idx="57">
                  <c:v>0.26300000000000001</c:v>
                </c:pt>
                <c:pt idx="58">
                  <c:v>0.75800000000000001</c:v>
                </c:pt>
                <c:pt idx="59">
                  <c:v>0.67700000000000005</c:v>
                </c:pt>
                <c:pt idx="60">
                  <c:v>0.66600000000000004</c:v>
                </c:pt>
                <c:pt idx="61">
                  <c:v>0.91800000000000004</c:v>
                </c:pt>
                <c:pt idx="62">
                  <c:v>0.53200000000000003</c:v>
                </c:pt>
                <c:pt idx="63">
                  <c:v>0.36499999999999999</c:v>
                </c:pt>
                <c:pt idx="64">
                  <c:v>0.79600000000000004</c:v>
                </c:pt>
                <c:pt idx="65">
                  <c:v>0.153</c:v>
                </c:pt>
                <c:pt idx="66">
                  <c:v>0.33300000000000002</c:v>
                </c:pt>
                <c:pt idx="67">
                  <c:v>0.55200000000000005</c:v>
                </c:pt>
                <c:pt idx="68">
                  <c:v>0.76400000000000001</c:v>
                </c:pt>
                <c:pt idx="69">
                  <c:v>0.52100000000000002</c:v>
                </c:pt>
                <c:pt idx="70">
                  <c:v>0.42799999999999999</c:v>
                </c:pt>
                <c:pt idx="71">
                  <c:v>0.38</c:v>
                </c:pt>
                <c:pt idx="72">
                  <c:v>0.38800000000000001</c:v>
                </c:pt>
                <c:pt idx="73">
                  <c:v>0.32800000000000001</c:v>
                </c:pt>
                <c:pt idx="74">
                  <c:v>0.52700000000000002</c:v>
                </c:pt>
                <c:pt idx="75">
                  <c:v>0.69299999999999995</c:v>
                </c:pt>
                <c:pt idx="76">
                  <c:v>0.53900000000000003</c:v>
                </c:pt>
                <c:pt idx="77">
                  <c:v>0.71399999999999997</c:v>
                </c:pt>
                <c:pt idx="78">
                  <c:v>0.24299999999999999</c:v>
                </c:pt>
                <c:pt idx="79">
                  <c:v>0.48099999999999998</c:v>
                </c:pt>
                <c:pt idx="80">
                  <c:v>0.61199999999999999</c:v>
                </c:pt>
                <c:pt idx="81">
                  <c:v>0.23400000000000001</c:v>
                </c:pt>
                <c:pt idx="82">
                  <c:v>0.621</c:v>
                </c:pt>
                <c:pt idx="83">
                  <c:v>0.48099999999999998</c:v>
                </c:pt>
                <c:pt idx="84">
                  <c:v>0.34499999999999997</c:v>
                </c:pt>
                <c:pt idx="85">
                  <c:v>0.247</c:v>
                </c:pt>
                <c:pt idx="86">
                  <c:v>0.39500000000000002</c:v>
                </c:pt>
                <c:pt idx="87">
                  <c:v>0.31</c:v>
                </c:pt>
                <c:pt idx="88">
                  <c:v>0.55600000000000005</c:v>
                </c:pt>
                <c:pt idx="89">
                  <c:v>0.42599999999999999</c:v>
                </c:pt>
                <c:pt idx="90">
                  <c:v>0.93300000000000005</c:v>
                </c:pt>
                <c:pt idx="91">
                  <c:v>0.17499999999999999</c:v>
                </c:pt>
                <c:pt idx="92">
                  <c:v>0.61899999999999999</c:v>
                </c:pt>
                <c:pt idx="93">
                  <c:v>0.74099999999999999</c:v>
                </c:pt>
                <c:pt idx="94">
                  <c:v>0.70199999999999996</c:v>
                </c:pt>
                <c:pt idx="95">
                  <c:v>0.621</c:v>
                </c:pt>
                <c:pt idx="96">
                  <c:v>0.17699999999999999</c:v>
                </c:pt>
                <c:pt idx="97">
                  <c:v>0.154</c:v>
                </c:pt>
                <c:pt idx="98">
                  <c:v>0.82599999999999996</c:v>
                </c:pt>
                <c:pt idx="99">
                  <c:v>0.28199999999999997</c:v>
                </c:pt>
                <c:pt idx="100">
                  <c:v>0.64</c:v>
                </c:pt>
                <c:pt idx="101">
                  <c:v>0.28699999999999998</c:v>
                </c:pt>
                <c:pt idx="102">
                  <c:v>0.32300000000000001</c:v>
                </c:pt>
                <c:pt idx="103">
                  <c:v>0.504</c:v>
                </c:pt>
                <c:pt idx="104">
                  <c:v>0.17299999999999999</c:v>
                </c:pt>
                <c:pt idx="105">
                  <c:v>9.5000000000000001E-2</c:v>
                </c:pt>
                <c:pt idx="106">
                  <c:v>9.4E-2</c:v>
                </c:pt>
                <c:pt idx="107">
                  <c:v>0.10199999999999999</c:v>
                </c:pt>
                <c:pt idx="108">
                  <c:v>7.3999999999999996E-2</c:v>
                </c:pt>
                <c:pt idx="109">
                  <c:v>9.0999999999999998E-2</c:v>
                </c:pt>
                <c:pt idx="110">
                  <c:v>5.3999999999999999E-2</c:v>
                </c:pt>
                <c:pt idx="111">
                  <c:v>0.108</c:v>
                </c:pt>
                <c:pt idx="112">
                  <c:v>5.2999999999999999E-2</c:v>
                </c:pt>
                <c:pt idx="113">
                  <c:v>6.0999999999999999E-2</c:v>
                </c:pt>
                <c:pt idx="114">
                  <c:v>7.0000000000000007E-2</c:v>
                </c:pt>
                <c:pt idx="115">
                  <c:v>0.34699999999999998</c:v>
                </c:pt>
                <c:pt idx="116">
                  <c:v>0.318</c:v>
                </c:pt>
                <c:pt idx="117">
                  <c:v>3.4000000000000002E-2</c:v>
                </c:pt>
                <c:pt idx="118">
                  <c:v>2.5000000000000001E-2</c:v>
                </c:pt>
                <c:pt idx="119">
                  <c:v>4.2000000000000003E-2</c:v>
                </c:pt>
                <c:pt idx="120">
                  <c:v>0.1</c:v>
                </c:pt>
                <c:pt idx="121">
                  <c:v>5.7000000000000002E-2</c:v>
                </c:pt>
                <c:pt idx="122">
                  <c:v>1.6E-2</c:v>
                </c:pt>
                <c:pt idx="123">
                  <c:v>5.6000000000000001E-2</c:v>
                </c:pt>
                <c:pt idx="124">
                  <c:v>1.6E-2</c:v>
                </c:pt>
                <c:pt idx="125">
                  <c:v>0.08</c:v>
                </c:pt>
                <c:pt idx="126">
                  <c:v>6.3E-2</c:v>
                </c:pt>
                <c:pt idx="127">
                  <c:v>0.11</c:v>
                </c:pt>
                <c:pt idx="128">
                  <c:v>0.16400000000000001</c:v>
                </c:pt>
                <c:pt idx="129">
                  <c:v>0.27100000000000002</c:v>
                </c:pt>
                <c:pt idx="130">
                  <c:v>0.223</c:v>
                </c:pt>
                <c:pt idx="131">
                  <c:v>6.0999999999999999E-2</c:v>
                </c:pt>
                <c:pt idx="132">
                  <c:v>0.121</c:v>
                </c:pt>
                <c:pt idx="133">
                  <c:v>0.67600000000000005</c:v>
                </c:pt>
                <c:pt idx="134">
                  <c:v>0.17899999999999999</c:v>
                </c:pt>
                <c:pt idx="135">
                  <c:v>0.185</c:v>
                </c:pt>
                <c:pt idx="136">
                  <c:v>0.16900000000000001</c:v>
                </c:pt>
                <c:pt idx="137">
                  <c:v>0.379</c:v>
                </c:pt>
                <c:pt idx="138">
                  <c:v>0.46300000000000002</c:v>
                </c:pt>
                <c:pt idx="139">
                  <c:v>0.91300000000000003</c:v>
                </c:pt>
                <c:pt idx="140">
                  <c:v>0.77800000000000002</c:v>
                </c:pt>
                <c:pt idx="141">
                  <c:v>0.27600000000000002</c:v>
                </c:pt>
                <c:pt idx="142">
                  <c:v>0.96399999999999997</c:v>
                </c:pt>
                <c:pt idx="143">
                  <c:v>0.216</c:v>
                </c:pt>
                <c:pt idx="144">
                  <c:v>0.93700000000000006</c:v>
                </c:pt>
                <c:pt idx="145">
                  <c:v>0.62</c:v>
                </c:pt>
                <c:pt idx="146">
                  <c:v>0.35599999999999998</c:v>
                </c:pt>
                <c:pt idx="147">
                  <c:v>0.28499999999999998</c:v>
                </c:pt>
                <c:pt idx="148">
                  <c:v>0.73599999999999999</c:v>
                </c:pt>
                <c:pt idx="149">
                  <c:v>0.94599999999999995</c:v>
                </c:pt>
                <c:pt idx="150">
                  <c:v>0.5</c:v>
                </c:pt>
                <c:pt idx="151">
                  <c:v>0.45600000000000002</c:v>
                </c:pt>
                <c:pt idx="152">
                  <c:v>0.25600000000000001</c:v>
                </c:pt>
                <c:pt idx="153">
                  <c:v>0.72499999999999998</c:v>
                </c:pt>
                <c:pt idx="154">
                  <c:v>0.37</c:v>
                </c:pt>
                <c:pt idx="155">
                  <c:v>0.96099999999999997</c:v>
                </c:pt>
                <c:pt idx="156">
                  <c:v>0.16600000000000001</c:v>
                </c:pt>
                <c:pt idx="157">
                  <c:v>0.35</c:v>
                </c:pt>
                <c:pt idx="158">
                  <c:v>0.76500000000000001</c:v>
                </c:pt>
                <c:pt idx="159">
                  <c:v>0.71</c:v>
                </c:pt>
                <c:pt idx="160">
                  <c:v>0.25600000000000001</c:v>
                </c:pt>
                <c:pt idx="161">
                  <c:v>0.34699999999999998</c:v>
                </c:pt>
                <c:pt idx="162">
                  <c:v>0.185</c:v>
                </c:pt>
                <c:pt idx="163">
                  <c:v>0.214</c:v>
                </c:pt>
                <c:pt idx="164">
                  <c:v>0.54200000000000004</c:v>
                </c:pt>
                <c:pt idx="165">
                  <c:v>0.13300000000000001</c:v>
                </c:pt>
                <c:pt idx="166">
                  <c:v>0.27700000000000002</c:v>
                </c:pt>
                <c:pt idx="167">
                  <c:v>0.311</c:v>
                </c:pt>
                <c:pt idx="168">
                  <c:v>0.95799999999999996</c:v>
                </c:pt>
                <c:pt idx="169">
                  <c:v>0.33100000000000002</c:v>
                </c:pt>
                <c:pt idx="170">
                  <c:v>0.48799999999999999</c:v>
                </c:pt>
                <c:pt idx="171">
                  <c:v>0.28599999999999998</c:v>
                </c:pt>
                <c:pt idx="172">
                  <c:v>0.191</c:v>
                </c:pt>
                <c:pt idx="173">
                  <c:v>0.19</c:v>
                </c:pt>
                <c:pt idx="174">
                  <c:v>0.16</c:v>
                </c:pt>
                <c:pt idx="175">
                  <c:v>0.434</c:v>
                </c:pt>
                <c:pt idx="176">
                  <c:v>0.159</c:v>
                </c:pt>
                <c:pt idx="177">
                  <c:v>0.56999999999999995</c:v>
                </c:pt>
                <c:pt idx="178">
                  <c:v>0.443</c:v>
                </c:pt>
                <c:pt idx="179">
                  <c:v>0.312</c:v>
                </c:pt>
                <c:pt idx="180">
                  <c:v>0.255</c:v>
                </c:pt>
                <c:pt idx="181">
                  <c:v>0.97199999999999998</c:v>
                </c:pt>
                <c:pt idx="182">
                  <c:v>0.95599999999999996</c:v>
                </c:pt>
                <c:pt idx="183">
                  <c:v>0.49099999999999999</c:v>
                </c:pt>
                <c:pt idx="184">
                  <c:v>0.74399999999999999</c:v>
                </c:pt>
                <c:pt idx="185">
                  <c:v>0.89100000000000001</c:v>
                </c:pt>
                <c:pt idx="186">
                  <c:v>0.35399999999999998</c:v>
                </c:pt>
                <c:pt idx="187">
                  <c:v>0.29399999999999998</c:v>
                </c:pt>
                <c:pt idx="188">
                  <c:v>0.65900000000000003</c:v>
                </c:pt>
                <c:pt idx="189">
                  <c:v>0.624</c:v>
                </c:pt>
                <c:pt idx="190">
                  <c:v>0.88400000000000001</c:v>
                </c:pt>
                <c:pt idx="191">
                  <c:v>0.70599999999999996</c:v>
                </c:pt>
                <c:pt idx="192">
                  <c:v>0.68200000000000005</c:v>
                </c:pt>
                <c:pt idx="193">
                  <c:v>0.34100000000000003</c:v>
                </c:pt>
                <c:pt idx="194">
                  <c:v>0.93799999999999994</c:v>
                </c:pt>
                <c:pt idx="195">
                  <c:v>0.22</c:v>
                </c:pt>
                <c:pt idx="196">
                  <c:v>0.65300000000000002</c:v>
                </c:pt>
                <c:pt idx="197">
                  <c:v>0.65400000000000003</c:v>
                </c:pt>
                <c:pt idx="198">
                  <c:v>0.81799999999999995</c:v>
                </c:pt>
                <c:pt idx="199">
                  <c:v>0.60799999999999998</c:v>
                </c:pt>
                <c:pt idx="200">
                  <c:v>0.32</c:v>
                </c:pt>
                <c:pt idx="201">
                  <c:v>0.14899999999999999</c:v>
                </c:pt>
                <c:pt idx="202">
                  <c:v>0.20699999999999999</c:v>
                </c:pt>
                <c:pt idx="203">
                  <c:v>0.29499999999999998</c:v>
                </c:pt>
                <c:pt idx="204">
                  <c:v>0.23</c:v>
                </c:pt>
                <c:pt idx="205">
                  <c:v>0.18</c:v>
                </c:pt>
                <c:pt idx="206">
                  <c:v>0.41699999999999998</c:v>
                </c:pt>
                <c:pt idx="207">
                  <c:v>0.879</c:v>
                </c:pt>
                <c:pt idx="208">
                  <c:v>0.245</c:v>
                </c:pt>
                <c:pt idx="209">
                  <c:v>0.30099999999999999</c:v>
                </c:pt>
                <c:pt idx="210">
                  <c:v>0.504</c:v>
                </c:pt>
                <c:pt idx="211">
                  <c:v>0.27900000000000003</c:v>
                </c:pt>
                <c:pt idx="212">
                  <c:v>0.60799999999999998</c:v>
                </c:pt>
                <c:pt idx="213">
                  <c:v>0.30499999999999999</c:v>
                </c:pt>
                <c:pt idx="214">
                  <c:v>0.126</c:v>
                </c:pt>
                <c:pt idx="215">
                  <c:v>0.14399999999999999</c:v>
                </c:pt>
                <c:pt idx="216">
                  <c:v>0.189</c:v>
                </c:pt>
                <c:pt idx="217">
                  <c:v>0.17</c:v>
                </c:pt>
                <c:pt idx="218">
                  <c:v>0.13300000000000001</c:v>
                </c:pt>
                <c:pt idx="219">
                  <c:v>0.191</c:v>
                </c:pt>
                <c:pt idx="220">
                  <c:v>0.79</c:v>
                </c:pt>
                <c:pt idx="221">
                  <c:v>0.77800000000000002</c:v>
                </c:pt>
                <c:pt idx="222">
                  <c:v>0.28299999999999997</c:v>
                </c:pt>
                <c:pt idx="223">
                  <c:v>0.23300000000000001</c:v>
                </c:pt>
                <c:pt idx="224">
                  <c:v>0.32100000000000001</c:v>
                </c:pt>
                <c:pt idx="225">
                  <c:v>0.26600000000000001</c:v>
                </c:pt>
                <c:pt idx="226">
                  <c:v>0.216</c:v>
                </c:pt>
                <c:pt idx="227">
                  <c:v>0.246</c:v>
                </c:pt>
                <c:pt idx="228">
                  <c:v>0.17899999999999999</c:v>
                </c:pt>
                <c:pt idx="229">
                  <c:v>0.122</c:v>
                </c:pt>
                <c:pt idx="230">
                  <c:v>0.317</c:v>
                </c:pt>
                <c:pt idx="231">
                  <c:v>0.14699999999999999</c:v>
                </c:pt>
                <c:pt idx="232">
                  <c:v>0.185</c:v>
                </c:pt>
                <c:pt idx="233">
                  <c:v>0.35599999999999998</c:v>
                </c:pt>
                <c:pt idx="234">
                  <c:v>9.8000000000000004E-2</c:v>
                </c:pt>
                <c:pt idx="235">
                  <c:v>0.48899999999999999</c:v>
                </c:pt>
                <c:pt idx="236">
                  <c:v>7.5999999999999998E-2</c:v>
                </c:pt>
                <c:pt idx="237">
                  <c:v>0.13</c:v>
                </c:pt>
                <c:pt idx="238">
                  <c:v>0.1</c:v>
                </c:pt>
                <c:pt idx="239">
                  <c:v>0.1</c:v>
                </c:pt>
                <c:pt idx="240">
                  <c:v>0.13700000000000001</c:v>
                </c:pt>
                <c:pt idx="241">
                  <c:v>0.14499999999999999</c:v>
                </c:pt>
                <c:pt idx="242">
                  <c:v>0.24299999999999999</c:v>
                </c:pt>
                <c:pt idx="243">
                  <c:v>0.17199999999999999</c:v>
                </c:pt>
                <c:pt idx="244">
                  <c:v>0.184</c:v>
                </c:pt>
                <c:pt idx="245">
                  <c:v>0.35099999999999998</c:v>
                </c:pt>
                <c:pt idx="246">
                  <c:v>9.7000000000000003E-2</c:v>
                </c:pt>
                <c:pt idx="247">
                  <c:v>0.125</c:v>
                </c:pt>
                <c:pt idx="248">
                  <c:v>0.104</c:v>
                </c:pt>
                <c:pt idx="249">
                  <c:v>0.96299999999999997</c:v>
                </c:pt>
                <c:pt idx="250">
                  <c:v>0.72</c:v>
                </c:pt>
                <c:pt idx="251">
                  <c:v>0.26200000000000001</c:v>
                </c:pt>
                <c:pt idx="252">
                  <c:v>0.14199999999999999</c:v>
                </c:pt>
                <c:pt idx="253">
                  <c:v>0.28399999999999997</c:v>
                </c:pt>
                <c:pt idx="254">
                  <c:v>0.22800000000000001</c:v>
                </c:pt>
                <c:pt idx="255">
                  <c:v>0.67400000000000004</c:v>
                </c:pt>
                <c:pt idx="256">
                  <c:v>0.13200000000000001</c:v>
                </c:pt>
                <c:pt idx="257">
                  <c:v>9.2999999999999999E-2</c:v>
                </c:pt>
                <c:pt idx="258">
                  <c:v>9.2999999999999999E-2</c:v>
                </c:pt>
                <c:pt idx="259">
                  <c:v>0.247</c:v>
                </c:pt>
                <c:pt idx="260">
                  <c:v>0.623</c:v>
                </c:pt>
                <c:pt idx="261">
                  <c:v>0.13</c:v>
                </c:pt>
                <c:pt idx="262">
                  <c:v>0.122</c:v>
                </c:pt>
                <c:pt idx="263">
                  <c:v>9.5000000000000001E-2</c:v>
                </c:pt>
                <c:pt idx="264">
                  <c:v>0.128</c:v>
                </c:pt>
                <c:pt idx="265">
                  <c:v>7.0999999999999994E-2</c:v>
                </c:pt>
                <c:pt idx="266">
                  <c:v>2.1999999999999999E-2</c:v>
                </c:pt>
                <c:pt idx="267">
                  <c:v>5.6000000000000001E-2</c:v>
                </c:pt>
                <c:pt idx="268">
                  <c:v>3.3000000000000002E-2</c:v>
                </c:pt>
                <c:pt idx="269">
                  <c:v>4.8000000000000001E-2</c:v>
                </c:pt>
                <c:pt idx="270">
                  <c:v>2.1999999999999999E-2</c:v>
                </c:pt>
                <c:pt idx="271">
                  <c:v>3.5999999999999997E-2</c:v>
                </c:pt>
                <c:pt idx="272">
                  <c:v>0.04</c:v>
                </c:pt>
                <c:pt idx="273">
                  <c:v>2.5000000000000001E-2</c:v>
                </c:pt>
                <c:pt idx="274">
                  <c:v>0.01</c:v>
                </c:pt>
                <c:pt idx="275">
                  <c:v>0.04</c:v>
                </c:pt>
                <c:pt idx="276">
                  <c:v>0.05</c:v>
                </c:pt>
                <c:pt idx="277">
                  <c:v>0.01</c:v>
                </c:pt>
                <c:pt idx="278">
                  <c:v>3.0000000000000001E-3</c:v>
                </c:pt>
                <c:pt idx="279">
                  <c:v>3.0000000000000001E-3</c:v>
                </c:pt>
                <c:pt idx="280">
                  <c:v>3.9E-2</c:v>
                </c:pt>
                <c:pt idx="281">
                  <c:v>1.7000000000000001E-2</c:v>
                </c:pt>
                <c:pt idx="282">
                  <c:v>2.8000000000000001E-2</c:v>
                </c:pt>
                <c:pt idx="283">
                  <c:v>3.7999999999999999E-2</c:v>
                </c:pt>
                <c:pt idx="284">
                  <c:v>7.0000000000000007E-2</c:v>
                </c:pt>
                <c:pt idx="285">
                  <c:v>0.105</c:v>
                </c:pt>
                <c:pt idx="286">
                  <c:v>0.122</c:v>
                </c:pt>
                <c:pt idx="287">
                  <c:v>4.1000000000000002E-2</c:v>
                </c:pt>
                <c:pt idx="288">
                  <c:v>0.01</c:v>
                </c:pt>
                <c:pt idx="289">
                  <c:v>3.4000000000000002E-2</c:v>
                </c:pt>
                <c:pt idx="290">
                  <c:v>8.8999999999999996E-2</c:v>
                </c:pt>
                <c:pt idx="291">
                  <c:v>4.3999999999999997E-2</c:v>
                </c:pt>
                <c:pt idx="292">
                  <c:v>8.8999999999999996E-2</c:v>
                </c:pt>
                <c:pt idx="293">
                  <c:v>4.3999999999999997E-2</c:v>
                </c:pt>
                <c:pt idx="294">
                  <c:v>6.0000000000000001E-3</c:v>
                </c:pt>
                <c:pt idx="295">
                  <c:v>4.3999999999999997E-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C3D4-4008-98E4-DF2CEAE4EF07}"/>
            </c:ext>
          </c:extLst>
        </c:ser>
        <c:ser>
          <c:idx val="0"/>
          <c:order val="1"/>
          <c:tx>
            <c:strRef>
              <c:f>股票择时信号!$AB$7</c:f>
              <c:strCache>
                <c:ptCount val="1"/>
                <c:pt idx="0">
                  <c:v> 过去12个月滚动新增社融增速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6</c:f>
              <c:numCache>
                <c:formatCode>yyyy\-mm\-dd</c:formatCode>
                <c:ptCount val="296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  <c:pt idx="295">
                  <c:v>45998</c:v>
                </c:pt>
              </c:numCache>
            </c:numRef>
          </c:cat>
          <c:val>
            <c:numRef>
              <c:f>股票择时信号!$AB$11:$AB$306</c:f>
              <c:numCache>
                <c:formatCode>0.0%</c:formatCode>
                <c:ptCount val="296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.83299999999999996</c:v>
                </c:pt>
                <c:pt idx="7">
                  <c:v>0.71399999999999997</c:v>
                </c:pt>
                <c:pt idx="8">
                  <c:v>0.625</c:v>
                </c:pt>
                <c:pt idx="9">
                  <c:v>1</c:v>
                </c:pt>
                <c:pt idx="10">
                  <c:v>0.9</c:v>
                </c:pt>
                <c:pt idx="11">
                  <c:v>0.81799999999999995</c:v>
                </c:pt>
                <c:pt idx="12">
                  <c:v>0.75</c:v>
                </c:pt>
                <c:pt idx="13">
                  <c:v>1</c:v>
                </c:pt>
                <c:pt idx="14">
                  <c:v>0.92800000000000005</c:v>
                </c:pt>
                <c:pt idx="15">
                  <c:v>0.86599999999999999</c:v>
                </c:pt>
                <c:pt idx="16">
                  <c:v>0.81200000000000006</c:v>
                </c:pt>
                <c:pt idx="17">
                  <c:v>0.76400000000000001</c:v>
                </c:pt>
                <c:pt idx="18">
                  <c:v>1</c:v>
                </c:pt>
                <c:pt idx="19">
                  <c:v>0.94699999999999995</c:v>
                </c:pt>
                <c:pt idx="20">
                  <c:v>0.9</c:v>
                </c:pt>
                <c:pt idx="21">
                  <c:v>0.85699999999999998</c:v>
                </c:pt>
                <c:pt idx="22">
                  <c:v>1</c:v>
                </c:pt>
                <c:pt idx="23">
                  <c:v>0.95599999999999996</c:v>
                </c:pt>
                <c:pt idx="24">
                  <c:v>0.91600000000000004</c:v>
                </c:pt>
                <c:pt idx="25">
                  <c:v>0.88</c:v>
                </c:pt>
                <c:pt idx="26">
                  <c:v>0.84599999999999997</c:v>
                </c:pt>
                <c:pt idx="27">
                  <c:v>1</c:v>
                </c:pt>
                <c:pt idx="28">
                  <c:v>0.96399999999999997</c:v>
                </c:pt>
                <c:pt idx="29">
                  <c:v>0.93100000000000005</c:v>
                </c:pt>
                <c:pt idx="30">
                  <c:v>0.9</c:v>
                </c:pt>
                <c:pt idx="31">
                  <c:v>1</c:v>
                </c:pt>
                <c:pt idx="32">
                  <c:v>0.96799999999999997</c:v>
                </c:pt>
                <c:pt idx="33">
                  <c:v>0.93899999999999995</c:v>
                </c:pt>
                <c:pt idx="34">
                  <c:v>0.91100000000000003</c:v>
                </c:pt>
                <c:pt idx="35">
                  <c:v>0.88500000000000001</c:v>
                </c:pt>
                <c:pt idx="36">
                  <c:v>0.86099999999999999</c:v>
                </c:pt>
                <c:pt idx="37">
                  <c:v>0.83699999999999997</c:v>
                </c:pt>
                <c:pt idx="38">
                  <c:v>0.81499999999999995</c:v>
                </c:pt>
                <c:pt idx="39">
                  <c:v>0.79400000000000004</c:v>
                </c:pt>
                <c:pt idx="40">
                  <c:v>0.55000000000000004</c:v>
                </c:pt>
                <c:pt idx="41">
                  <c:v>0.53600000000000003</c:v>
                </c:pt>
                <c:pt idx="42">
                  <c:v>0.52300000000000002</c:v>
                </c:pt>
                <c:pt idx="43">
                  <c:v>0.51100000000000001</c:v>
                </c:pt>
                <c:pt idx="44">
                  <c:v>0.5</c:v>
                </c:pt>
                <c:pt idx="45">
                  <c:v>0.48799999999999999</c:v>
                </c:pt>
                <c:pt idx="46">
                  <c:v>0.47799999999999998</c:v>
                </c:pt>
                <c:pt idx="47">
                  <c:v>0.46800000000000003</c:v>
                </c:pt>
                <c:pt idx="48">
                  <c:v>0.54100000000000004</c:v>
                </c:pt>
                <c:pt idx="49">
                  <c:v>0.53</c:v>
                </c:pt>
                <c:pt idx="50">
                  <c:v>0.52</c:v>
                </c:pt>
                <c:pt idx="51">
                  <c:v>0.50900000000000001</c:v>
                </c:pt>
                <c:pt idx="52">
                  <c:v>0.5</c:v>
                </c:pt>
                <c:pt idx="53">
                  <c:v>9.4E-2</c:v>
                </c:pt>
                <c:pt idx="54">
                  <c:v>9.1999999999999998E-2</c:v>
                </c:pt>
                <c:pt idx="55">
                  <c:v>0.09</c:v>
                </c:pt>
                <c:pt idx="56">
                  <c:v>8.8999999999999996E-2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9.0999999999999998E-2</c:v>
                </c:pt>
                <c:pt idx="88">
                  <c:v>0.09</c:v>
                </c:pt>
                <c:pt idx="89">
                  <c:v>8.8999999999999996E-2</c:v>
                </c:pt>
                <c:pt idx="90">
                  <c:v>8.7999999999999995E-2</c:v>
                </c:pt>
                <c:pt idx="91">
                  <c:v>8.6999999999999994E-2</c:v>
                </c:pt>
                <c:pt idx="92">
                  <c:v>0.19500000000000001</c:v>
                </c:pt>
                <c:pt idx="93">
                  <c:v>0.193</c:v>
                </c:pt>
                <c:pt idx="94">
                  <c:v>0.191</c:v>
                </c:pt>
                <c:pt idx="95">
                  <c:v>0.189</c:v>
                </c:pt>
                <c:pt idx="96">
                  <c:v>0.22900000000000001</c:v>
                </c:pt>
                <c:pt idx="97">
                  <c:v>0.22600000000000001</c:v>
                </c:pt>
                <c:pt idx="98">
                  <c:v>0.224</c:v>
                </c:pt>
                <c:pt idx="99">
                  <c:v>0.222</c:v>
                </c:pt>
                <c:pt idx="100">
                  <c:v>0.13</c:v>
                </c:pt>
                <c:pt idx="101">
                  <c:v>0.128</c:v>
                </c:pt>
                <c:pt idx="102">
                  <c:v>0.127</c:v>
                </c:pt>
                <c:pt idx="103">
                  <c:v>0.126</c:v>
                </c:pt>
                <c:pt idx="104">
                  <c:v>0.125</c:v>
                </c:pt>
                <c:pt idx="105">
                  <c:v>0.33300000000000002</c:v>
                </c:pt>
                <c:pt idx="106">
                  <c:v>0.33</c:v>
                </c:pt>
                <c:pt idx="107">
                  <c:v>0.32700000000000001</c:v>
                </c:pt>
                <c:pt idx="108">
                  <c:v>0.32400000000000001</c:v>
                </c:pt>
                <c:pt idx="109">
                  <c:v>0.40300000000000002</c:v>
                </c:pt>
                <c:pt idx="110">
                  <c:v>0.4</c:v>
                </c:pt>
                <c:pt idx="111">
                  <c:v>0.39600000000000002</c:v>
                </c:pt>
                <c:pt idx="112">
                  <c:v>0.39200000000000002</c:v>
                </c:pt>
                <c:pt idx="113">
                  <c:v>0.46</c:v>
                </c:pt>
                <c:pt idx="114">
                  <c:v>0.45600000000000002</c:v>
                </c:pt>
                <c:pt idx="115">
                  <c:v>0.45200000000000001</c:v>
                </c:pt>
                <c:pt idx="116">
                  <c:v>0.44800000000000001</c:v>
                </c:pt>
                <c:pt idx="117">
                  <c:v>0.44400000000000001</c:v>
                </c:pt>
                <c:pt idx="118">
                  <c:v>0.48299999999999998</c:v>
                </c:pt>
                <c:pt idx="119">
                  <c:v>0.47799999999999998</c:v>
                </c:pt>
                <c:pt idx="120">
                  <c:v>0.47499999999999998</c:v>
                </c:pt>
                <c:pt idx="121">
                  <c:v>0.47099999999999997</c:v>
                </c:pt>
                <c:pt idx="122">
                  <c:v>0.53200000000000003</c:v>
                </c:pt>
                <c:pt idx="123">
                  <c:v>0.52800000000000002</c:v>
                </c:pt>
                <c:pt idx="124">
                  <c:v>0.52400000000000002</c:v>
                </c:pt>
                <c:pt idx="125">
                  <c:v>0.52</c:v>
                </c:pt>
                <c:pt idx="126">
                  <c:v>0.54700000000000004</c:v>
                </c:pt>
                <c:pt idx="127">
                  <c:v>0.54300000000000004</c:v>
                </c:pt>
                <c:pt idx="128">
                  <c:v>0.53900000000000003</c:v>
                </c:pt>
                <c:pt idx="129">
                  <c:v>0.53400000000000003</c:v>
                </c:pt>
                <c:pt idx="130">
                  <c:v>0.53</c:v>
                </c:pt>
                <c:pt idx="131">
                  <c:v>0.60299999999999998</c:v>
                </c:pt>
                <c:pt idx="132">
                  <c:v>0.59799999999999998</c:v>
                </c:pt>
                <c:pt idx="133">
                  <c:v>0.59299999999999997</c:v>
                </c:pt>
                <c:pt idx="134">
                  <c:v>0.58899999999999997</c:v>
                </c:pt>
                <c:pt idx="135">
                  <c:v>0.54800000000000004</c:v>
                </c:pt>
                <c:pt idx="136">
                  <c:v>0.54400000000000004</c:v>
                </c:pt>
                <c:pt idx="137">
                  <c:v>0.54</c:v>
                </c:pt>
                <c:pt idx="138">
                  <c:v>0.53600000000000003</c:v>
                </c:pt>
                <c:pt idx="139">
                  <c:v>0.53200000000000003</c:v>
                </c:pt>
                <c:pt idx="140">
                  <c:v>0.435</c:v>
                </c:pt>
                <c:pt idx="141">
                  <c:v>0.432</c:v>
                </c:pt>
                <c:pt idx="142">
                  <c:v>0.42899999999999999</c:v>
                </c:pt>
                <c:pt idx="143">
                  <c:v>0.42599999999999999</c:v>
                </c:pt>
                <c:pt idx="144">
                  <c:v>0.36099999999999999</c:v>
                </c:pt>
                <c:pt idx="145">
                  <c:v>0.35799999999999998</c:v>
                </c:pt>
                <c:pt idx="146">
                  <c:v>0.35599999999999998</c:v>
                </c:pt>
                <c:pt idx="147">
                  <c:v>0.35299999999999998</c:v>
                </c:pt>
                <c:pt idx="148">
                  <c:v>0.32400000000000001</c:v>
                </c:pt>
                <c:pt idx="149">
                  <c:v>0.32200000000000001</c:v>
                </c:pt>
                <c:pt idx="150">
                  <c:v>0.32</c:v>
                </c:pt>
                <c:pt idx="151">
                  <c:v>0.317</c:v>
                </c:pt>
                <c:pt idx="152">
                  <c:v>0.42699999999999999</c:v>
                </c:pt>
                <c:pt idx="153">
                  <c:v>0.42399999999999999</c:v>
                </c:pt>
                <c:pt idx="154">
                  <c:v>0.42199999999999999</c:v>
                </c:pt>
                <c:pt idx="155">
                  <c:v>0.41899999999999998</c:v>
                </c:pt>
                <c:pt idx="156">
                  <c:v>0.41599999999999998</c:v>
                </c:pt>
                <c:pt idx="157">
                  <c:v>0.38200000000000001</c:v>
                </c:pt>
                <c:pt idx="158">
                  <c:v>0.379</c:v>
                </c:pt>
                <c:pt idx="159">
                  <c:v>0.377</c:v>
                </c:pt>
                <c:pt idx="160">
                  <c:v>0.375</c:v>
                </c:pt>
                <c:pt idx="161">
                  <c:v>0.45900000000000002</c:v>
                </c:pt>
                <c:pt idx="162">
                  <c:v>0.45600000000000002</c:v>
                </c:pt>
                <c:pt idx="163">
                  <c:v>0.45300000000000001</c:v>
                </c:pt>
                <c:pt idx="164">
                  <c:v>0.45100000000000001</c:v>
                </c:pt>
                <c:pt idx="165">
                  <c:v>0.44800000000000001</c:v>
                </c:pt>
                <c:pt idx="166">
                  <c:v>0.33700000000000002</c:v>
                </c:pt>
                <c:pt idx="167">
                  <c:v>0.33500000000000002</c:v>
                </c:pt>
                <c:pt idx="168">
                  <c:v>0.33300000000000002</c:v>
                </c:pt>
                <c:pt idx="169">
                  <c:v>0.33100000000000002</c:v>
                </c:pt>
                <c:pt idx="170">
                  <c:v>0.182</c:v>
                </c:pt>
                <c:pt idx="171">
                  <c:v>0.18099999999999999</c:v>
                </c:pt>
                <c:pt idx="172">
                  <c:v>0.18</c:v>
                </c:pt>
                <c:pt idx="173">
                  <c:v>0.17899999999999999</c:v>
                </c:pt>
                <c:pt idx="174">
                  <c:v>0.17799999999999999</c:v>
                </c:pt>
                <c:pt idx="175">
                  <c:v>0.17699999999999999</c:v>
                </c:pt>
                <c:pt idx="176">
                  <c:v>0.17599999999999999</c:v>
                </c:pt>
                <c:pt idx="177">
                  <c:v>0.17499999999999999</c:v>
                </c:pt>
                <c:pt idx="178">
                  <c:v>0.17399999999999999</c:v>
                </c:pt>
                <c:pt idx="179">
                  <c:v>0.245</c:v>
                </c:pt>
                <c:pt idx="180">
                  <c:v>0.24399999999999999</c:v>
                </c:pt>
                <c:pt idx="181">
                  <c:v>0.24299999999999999</c:v>
                </c:pt>
                <c:pt idx="182">
                  <c:v>0.24099999999999999</c:v>
                </c:pt>
                <c:pt idx="183">
                  <c:v>0.24</c:v>
                </c:pt>
                <c:pt idx="184">
                  <c:v>0.23899999999999999</c:v>
                </c:pt>
                <c:pt idx="185">
                  <c:v>0.23699999999999999</c:v>
                </c:pt>
                <c:pt idx="186">
                  <c:v>0.23599999999999999</c:v>
                </c:pt>
                <c:pt idx="187">
                  <c:v>0.23499999999999999</c:v>
                </c:pt>
                <c:pt idx="188">
                  <c:v>0.39300000000000002</c:v>
                </c:pt>
                <c:pt idx="189">
                  <c:v>0.39100000000000001</c:v>
                </c:pt>
                <c:pt idx="190">
                  <c:v>0.38900000000000001</c:v>
                </c:pt>
                <c:pt idx="191">
                  <c:v>0.38700000000000001</c:v>
                </c:pt>
                <c:pt idx="192">
                  <c:v>0.44700000000000001</c:v>
                </c:pt>
                <c:pt idx="193">
                  <c:v>0.44500000000000001</c:v>
                </c:pt>
                <c:pt idx="194">
                  <c:v>0.443</c:v>
                </c:pt>
                <c:pt idx="195">
                  <c:v>0.441</c:v>
                </c:pt>
                <c:pt idx="196">
                  <c:v>0.55600000000000005</c:v>
                </c:pt>
                <c:pt idx="197">
                  <c:v>0.55300000000000005</c:v>
                </c:pt>
                <c:pt idx="198">
                  <c:v>0.55000000000000004</c:v>
                </c:pt>
                <c:pt idx="199">
                  <c:v>0.54700000000000004</c:v>
                </c:pt>
                <c:pt idx="200">
                  <c:v>0.625</c:v>
                </c:pt>
                <c:pt idx="201">
                  <c:v>0.621</c:v>
                </c:pt>
                <c:pt idx="202">
                  <c:v>0.61799999999999999</c:v>
                </c:pt>
                <c:pt idx="203">
                  <c:v>0.61499999999999999</c:v>
                </c:pt>
                <c:pt idx="204">
                  <c:v>0.61199999999999999</c:v>
                </c:pt>
                <c:pt idx="205">
                  <c:v>0.38</c:v>
                </c:pt>
                <c:pt idx="206">
                  <c:v>0.378</c:v>
                </c:pt>
                <c:pt idx="207">
                  <c:v>0.376</c:v>
                </c:pt>
                <c:pt idx="208">
                  <c:v>0.375</c:v>
                </c:pt>
                <c:pt idx="209">
                  <c:v>0.253</c:v>
                </c:pt>
                <c:pt idx="210">
                  <c:v>0.252</c:v>
                </c:pt>
                <c:pt idx="211">
                  <c:v>0.251</c:v>
                </c:pt>
                <c:pt idx="212">
                  <c:v>0.25</c:v>
                </c:pt>
                <c:pt idx="213">
                  <c:v>0.14499999999999999</c:v>
                </c:pt>
                <c:pt idx="214">
                  <c:v>0.14399999999999999</c:v>
                </c:pt>
                <c:pt idx="215">
                  <c:v>0.14399999999999999</c:v>
                </c:pt>
                <c:pt idx="216">
                  <c:v>0.14299999999999999</c:v>
                </c:pt>
                <c:pt idx="217">
                  <c:v>0.14199999999999999</c:v>
                </c:pt>
                <c:pt idx="218">
                  <c:v>0.30199999999999999</c:v>
                </c:pt>
                <c:pt idx="219">
                  <c:v>0.30099999999999999</c:v>
                </c:pt>
                <c:pt idx="220">
                  <c:v>0.3</c:v>
                </c:pt>
                <c:pt idx="221">
                  <c:v>0.29799999999999999</c:v>
                </c:pt>
                <c:pt idx="222">
                  <c:v>0.35499999999999998</c:v>
                </c:pt>
                <c:pt idx="223">
                  <c:v>0.35399999999999998</c:v>
                </c:pt>
                <c:pt idx="224">
                  <c:v>0.35199999999999998</c:v>
                </c:pt>
                <c:pt idx="225">
                  <c:v>0.35099999999999998</c:v>
                </c:pt>
                <c:pt idx="226">
                  <c:v>0.34899999999999998</c:v>
                </c:pt>
                <c:pt idx="227">
                  <c:v>0.45800000000000002</c:v>
                </c:pt>
                <c:pt idx="228">
                  <c:v>0.45600000000000002</c:v>
                </c:pt>
                <c:pt idx="229">
                  <c:v>0.45400000000000001</c:v>
                </c:pt>
                <c:pt idx="230">
                  <c:v>0.45200000000000001</c:v>
                </c:pt>
                <c:pt idx="231">
                  <c:v>0.34100000000000003</c:v>
                </c:pt>
                <c:pt idx="232">
                  <c:v>0.34</c:v>
                </c:pt>
                <c:pt idx="233">
                  <c:v>0.33900000000000002</c:v>
                </c:pt>
                <c:pt idx="234">
                  <c:v>0.33700000000000002</c:v>
                </c:pt>
                <c:pt idx="235">
                  <c:v>0.33600000000000002</c:v>
                </c:pt>
                <c:pt idx="236">
                  <c:v>0.29599999999999999</c:v>
                </c:pt>
                <c:pt idx="237">
                  <c:v>0.29499999999999998</c:v>
                </c:pt>
                <c:pt idx="238">
                  <c:v>0.29399999999999998</c:v>
                </c:pt>
                <c:pt idx="239">
                  <c:v>0.29199999999999998</c:v>
                </c:pt>
                <c:pt idx="240">
                  <c:v>0.15</c:v>
                </c:pt>
                <c:pt idx="241">
                  <c:v>0.14899999999999999</c:v>
                </c:pt>
                <c:pt idx="242">
                  <c:v>0.14799999999999999</c:v>
                </c:pt>
                <c:pt idx="243">
                  <c:v>0.14799999999999999</c:v>
                </c:pt>
                <c:pt idx="244">
                  <c:v>0.11</c:v>
                </c:pt>
                <c:pt idx="245">
                  <c:v>0.11</c:v>
                </c:pt>
                <c:pt idx="246">
                  <c:v>0.109</c:v>
                </c:pt>
                <c:pt idx="247">
                  <c:v>0.109</c:v>
                </c:pt>
                <c:pt idx="248">
                  <c:v>0.108</c:v>
                </c:pt>
                <c:pt idx="249">
                  <c:v>0.2</c:v>
                </c:pt>
                <c:pt idx="250">
                  <c:v>0.2</c:v>
                </c:pt>
                <c:pt idx="251">
                  <c:v>0.19900000000000001</c:v>
                </c:pt>
                <c:pt idx="252">
                  <c:v>0.19800000000000001</c:v>
                </c:pt>
                <c:pt idx="253">
                  <c:v>0.19700000000000001</c:v>
                </c:pt>
                <c:pt idx="254">
                  <c:v>0.19600000000000001</c:v>
                </c:pt>
                <c:pt idx="255">
                  <c:v>0.19600000000000001</c:v>
                </c:pt>
                <c:pt idx="256">
                  <c:v>0.19500000000000001</c:v>
                </c:pt>
                <c:pt idx="257">
                  <c:v>0.45900000000000002</c:v>
                </c:pt>
                <c:pt idx="258">
                  <c:v>0.45700000000000002</c:v>
                </c:pt>
                <c:pt idx="259">
                  <c:v>0.45500000000000002</c:v>
                </c:pt>
                <c:pt idx="260">
                  <c:v>0.45300000000000001</c:v>
                </c:pt>
                <c:pt idx="261">
                  <c:v>0.55900000000000005</c:v>
                </c:pt>
                <c:pt idx="262">
                  <c:v>0.55700000000000005</c:v>
                </c:pt>
                <c:pt idx="263">
                  <c:v>0.55500000000000005</c:v>
                </c:pt>
                <c:pt idx="264">
                  <c:v>0.55300000000000005</c:v>
                </c:pt>
                <c:pt idx="265">
                  <c:v>0.55000000000000004</c:v>
                </c:pt>
                <c:pt idx="266">
                  <c:v>0.77</c:v>
                </c:pt>
                <c:pt idx="267">
                  <c:v>0.76700000000000002</c:v>
                </c:pt>
                <c:pt idx="268">
                  <c:v>0.76400000000000001</c:v>
                </c:pt>
                <c:pt idx="269">
                  <c:v>0.76200000000000001</c:v>
                </c:pt>
                <c:pt idx="270">
                  <c:v>0.72199999999999998</c:v>
                </c:pt>
                <c:pt idx="271">
                  <c:v>0.71899999999999997</c:v>
                </c:pt>
                <c:pt idx="272">
                  <c:v>0.71599999999999997</c:v>
                </c:pt>
                <c:pt idx="273">
                  <c:v>0.71399999999999997</c:v>
                </c:pt>
                <c:pt idx="274">
                  <c:v>0.71099999999999997</c:v>
                </c:pt>
                <c:pt idx="275">
                  <c:v>0.81</c:v>
                </c:pt>
                <c:pt idx="276">
                  <c:v>0.80700000000000005</c:v>
                </c:pt>
                <c:pt idx="277">
                  <c:v>0.80500000000000005</c:v>
                </c:pt>
                <c:pt idx="278">
                  <c:v>0.80200000000000005</c:v>
                </c:pt>
                <c:pt idx="279">
                  <c:v>0.79900000000000004</c:v>
                </c:pt>
                <c:pt idx="280">
                  <c:v>0.79600000000000004</c:v>
                </c:pt>
                <c:pt idx="281">
                  <c:v>0.79300000000000004</c:v>
                </c:pt>
                <c:pt idx="282">
                  <c:v>0.79</c:v>
                </c:pt>
                <c:pt idx="283">
                  <c:v>0.78700000000000003</c:v>
                </c:pt>
                <c:pt idx="284">
                  <c:v>0.78500000000000003</c:v>
                </c:pt>
                <c:pt idx="285">
                  <c:v>0.78200000000000003</c:v>
                </c:pt>
                <c:pt idx="286">
                  <c:v>0.77900000000000003</c:v>
                </c:pt>
                <c:pt idx="287">
                  <c:v>0.77700000000000002</c:v>
                </c:pt>
                <c:pt idx="288">
                  <c:v>0.79100000000000004</c:v>
                </c:pt>
                <c:pt idx="289">
                  <c:v>0.78800000000000003</c:v>
                </c:pt>
                <c:pt idx="290">
                  <c:v>0.78600000000000003</c:v>
                </c:pt>
                <c:pt idx="291">
                  <c:v>0.78300000000000003</c:v>
                </c:pt>
                <c:pt idx="292">
                  <c:v>0.79400000000000004</c:v>
                </c:pt>
                <c:pt idx="293">
                  <c:v>0.79100000000000004</c:v>
                </c:pt>
                <c:pt idx="294">
                  <c:v>0.78900000000000003</c:v>
                </c:pt>
                <c:pt idx="295">
                  <c:v>0.7860000000000000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C3D4-4008-98E4-DF2CEAE4EF07}"/>
            </c:ext>
          </c:extLst>
        </c:ser>
        <c:ser>
          <c:idx val="1"/>
          <c:order val="2"/>
          <c:tx>
            <c:strRef>
              <c:f>股票择时信号!$AC$7</c:f>
              <c:strCache>
                <c:ptCount val="1"/>
                <c:pt idx="0">
                  <c:v>高频经济指标的环比变化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6</c:f>
              <c:numCache>
                <c:formatCode>yyyy\-mm\-dd</c:formatCode>
                <c:ptCount val="296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  <c:pt idx="295">
                  <c:v>45998</c:v>
                </c:pt>
              </c:numCache>
            </c:numRef>
          </c:cat>
          <c:val>
            <c:numRef>
              <c:f>股票择时信号!$AC$11:$AC$306</c:f>
              <c:numCache>
                <c:formatCode>0.0%</c:formatCode>
                <c:ptCount val="296"/>
                <c:pt idx="0">
                  <c:v>1</c:v>
                </c:pt>
                <c:pt idx="1">
                  <c:v>0</c:v>
                </c:pt>
                <c:pt idx="2">
                  <c:v>0.5</c:v>
                </c:pt>
                <c:pt idx="3">
                  <c:v>0.33300000000000002</c:v>
                </c:pt>
                <c:pt idx="4">
                  <c:v>0.25</c:v>
                </c:pt>
                <c:pt idx="5">
                  <c:v>1</c:v>
                </c:pt>
                <c:pt idx="6">
                  <c:v>0.83299999999999996</c:v>
                </c:pt>
                <c:pt idx="7">
                  <c:v>1</c:v>
                </c:pt>
                <c:pt idx="8">
                  <c:v>1</c:v>
                </c:pt>
                <c:pt idx="9">
                  <c:v>0.33300000000000002</c:v>
                </c:pt>
                <c:pt idx="10">
                  <c:v>0.5</c:v>
                </c:pt>
                <c:pt idx="11">
                  <c:v>0</c:v>
                </c:pt>
                <c:pt idx="12">
                  <c:v>0</c:v>
                </c:pt>
                <c:pt idx="13">
                  <c:v>7.5999999999999998E-2</c:v>
                </c:pt>
                <c:pt idx="14">
                  <c:v>0</c:v>
                </c:pt>
                <c:pt idx="15">
                  <c:v>0.26600000000000001</c:v>
                </c:pt>
                <c:pt idx="16">
                  <c:v>0.125</c:v>
                </c:pt>
                <c:pt idx="17">
                  <c:v>0.41099999999999998</c:v>
                </c:pt>
                <c:pt idx="18">
                  <c:v>0.83299999999999996</c:v>
                </c:pt>
                <c:pt idx="19">
                  <c:v>0.42099999999999999</c:v>
                </c:pt>
                <c:pt idx="20">
                  <c:v>0.3</c:v>
                </c:pt>
                <c:pt idx="21">
                  <c:v>0.38</c:v>
                </c:pt>
                <c:pt idx="22">
                  <c:v>0</c:v>
                </c:pt>
                <c:pt idx="23">
                  <c:v>0.26</c:v>
                </c:pt>
                <c:pt idx="24">
                  <c:v>0.54100000000000004</c:v>
                </c:pt>
                <c:pt idx="25">
                  <c:v>0.76</c:v>
                </c:pt>
                <c:pt idx="26">
                  <c:v>0.5</c:v>
                </c:pt>
                <c:pt idx="27">
                  <c:v>0.222</c:v>
                </c:pt>
                <c:pt idx="28">
                  <c:v>0.107</c:v>
                </c:pt>
                <c:pt idx="29">
                  <c:v>0</c:v>
                </c:pt>
                <c:pt idx="30">
                  <c:v>0.3</c:v>
                </c:pt>
                <c:pt idx="31">
                  <c:v>0.25800000000000001</c:v>
                </c:pt>
                <c:pt idx="32">
                  <c:v>0.187</c:v>
                </c:pt>
                <c:pt idx="33">
                  <c:v>0.09</c:v>
                </c:pt>
                <c:pt idx="34">
                  <c:v>5.8000000000000003E-2</c:v>
                </c:pt>
                <c:pt idx="35">
                  <c:v>8.5000000000000006E-2</c:v>
                </c:pt>
                <c:pt idx="36">
                  <c:v>5.5E-2</c:v>
                </c:pt>
                <c:pt idx="37">
                  <c:v>0.29699999999999999</c:v>
                </c:pt>
                <c:pt idx="38">
                  <c:v>0.57799999999999996</c:v>
                </c:pt>
                <c:pt idx="39">
                  <c:v>0.61499999999999999</c:v>
                </c:pt>
                <c:pt idx="40">
                  <c:v>0.75</c:v>
                </c:pt>
                <c:pt idx="41">
                  <c:v>0.75600000000000001</c:v>
                </c:pt>
                <c:pt idx="42">
                  <c:v>0.83299999999999996</c:v>
                </c:pt>
                <c:pt idx="43">
                  <c:v>0.88300000000000001</c:v>
                </c:pt>
                <c:pt idx="44">
                  <c:v>0.25</c:v>
                </c:pt>
                <c:pt idx="45">
                  <c:v>4.3999999999999997E-2</c:v>
                </c:pt>
                <c:pt idx="46">
                  <c:v>0</c:v>
                </c:pt>
                <c:pt idx="47">
                  <c:v>2.1000000000000001E-2</c:v>
                </c:pt>
                <c:pt idx="48">
                  <c:v>0.375</c:v>
                </c:pt>
                <c:pt idx="49">
                  <c:v>0.65300000000000002</c:v>
                </c:pt>
                <c:pt idx="50">
                  <c:v>0.57999999999999996</c:v>
                </c:pt>
                <c:pt idx="51">
                  <c:v>0.43099999999999999</c:v>
                </c:pt>
                <c:pt idx="52">
                  <c:v>0.53800000000000003</c:v>
                </c:pt>
                <c:pt idx="53">
                  <c:v>0.433</c:v>
                </c:pt>
                <c:pt idx="54">
                  <c:v>0.55500000000000005</c:v>
                </c:pt>
                <c:pt idx="55">
                  <c:v>0.34499999999999997</c:v>
                </c:pt>
                <c:pt idx="56">
                  <c:v>0.30299999999999999</c:v>
                </c:pt>
                <c:pt idx="57">
                  <c:v>0.52600000000000002</c:v>
                </c:pt>
                <c:pt idx="58">
                  <c:v>0.5</c:v>
                </c:pt>
                <c:pt idx="59">
                  <c:v>0.47399999999999998</c:v>
                </c:pt>
                <c:pt idx="60">
                  <c:v>0.45</c:v>
                </c:pt>
                <c:pt idx="61">
                  <c:v>0.18</c:v>
                </c:pt>
                <c:pt idx="62">
                  <c:v>0.14499999999999999</c:v>
                </c:pt>
                <c:pt idx="63">
                  <c:v>0.17399999999999999</c:v>
                </c:pt>
                <c:pt idx="64">
                  <c:v>0.14000000000000001</c:v>
                </c:pt>
                <c:pt idx="65">
                  <c:v>0.2</c:v>
                </c:pt>
                <c:pt idx="66">
                  <c:v>0.378</c:v>
                </c:pt>
                <c:pt idx="67">
                  <c:v>0.52200000000000002</c:v>
                </c:pt>
                <c:pt idx="68">
                  <c:v>0.25</c:v>
                </c:pt>
                <c:pt idx="69">
                  <c:v>0.52100000000000002</c:v>
                </c:pt>
                <c:pt idx="70">
                  <c:v>0.64200000000000002</c:v>
                </c:pt>
                <c:pt idx="71">
                  <c:v>0.36599999999999999</c:v>
                </c:pt>
                <c:pt idx="72">
                  <c:v>0.56899999999999995</c:v>
                </c:pt>
                <c:pt idx="73">
                  <c:v>0.28699999999999998</c:v>
                </c:pt>
                <c:pt idx="74">
                  <c:v>6.7000000000000004E-2</c:v>
                </c:pt>
                <c:pt idx="75">
                  <c:v>0.21299999999999999</c:v>
                </c:pt>
                <c:pt idx="76">
                  <c:v>0.48599999999999999</c:v>
                </c:pt>
                <c:pt idx="77">
                  <c:v>0.67500000000000004</c:v>
                </c:pt>
                <c:pt idx="78">
                  <c:v>0.65300000000000002</c:v>
                </c:pt>
                <c:pt idx="79">
                  <c:v>0.63200000000000001</c:v>
                </c:pt>
                <c:pt idx="80">
                  <c:v>0.32500000000000001</c:v>
                </c:pt>
                <c:pt idx="81">
                  <c:v>0.13500000000000001</c:v>
                </c:pt>
                <c:pt idx="82">
                  <c:v>0.41399999999999998</c:v>
                </c:pt>
                <c:pt idx="83">
                  <c:v>0.216</c:v>
                </c:pt>
                <c:pt idx="84">
                  <c:v>0.51100000000000001</c:v>
                </c:pt>
                <c:pt idx="85">
                  <c:v>0.42299999999999999</c:v>
                </c:pt>
                <c:pt idx="86">
                  <c:v>0.372</c:v>
                </c:pt>
                <c:pt idx="87">
                  <c:v>0.39</c:v>
                </c:pt>
                <c:pt idx="88">
                  <c:v>0.318</c:v>
                </c:pt>
                <c:pt idx="89">
                  <c:v>0.57299999999999995</c:v>
                </c:pt>
                <c:pt idx="90">
                  <c:v>0.34399999999999997</c:v>
                </c:pt>
                <c:pt idx="91">
                  <c:v>0.626</c:v>
                </c:pt>
                <c:pt idx="92">
                  <c:v>0.55400000000000005</c:v>
                </c:pt>
                <c:pt idx="93">
                  <c:v>0.376</c:v>
                </c:pt>
                <c:pt idx="94">
                  <c:v>0.26500000000000001</c:v>
                </c:pt>
                <c:pt idx="95">
                  <c:v>0.30499999999999999</c:v>
                </c:pt>
                <c:pt idx="96">
                  <c:v>0.54100000000000004</c:v>
                </c:pt>
                <c:pt idx="97">
                  <c:v>0.52500000000000002</c:v>
                </c:pt>
                <c:pt idx="98">
                  <c:v>0.622</c:v>
                </c:pt>
                <c:pt idx="99">
                  <c:v>0.434</c:v>
                </c:pt>
                <c:pt idx="100">
                  <c:v>0.14000000000000001</c:v>
                </c:pt>
                <c:pt idx="101">
                  <c:v>6.9000000000000006E-2</c:v>
                </c:pt>
                <c:pt idx="102">
                  <c:v>4.9000000000000002E-2</c:v>
                </c:pt>
                <c:pt idx="103">
                  <c:v>8.6999999999999994E-2</c:v>
                </c:pt>
                <c:pt idx="104">
                  <c:v>6.7000000000000004E-2</c:v>
                </c:pt>
                <c:pt idx="105">
                  <c:v>0.14199999999999999</c:v>
                </c:pt>
                <c:pt idx="106">
                  <c:v>0.32</c:v>
                </c:pt>
                <c:pt idx="107">
                  <c:v>0.308</c:v>
                </c:pt>
                <c:pt idx="108">
                  <c:v>0.70299999999999996</c:v>
                </c:pt>
                <c:pt idx="109">
                  <c:v>0.85299999999999998</c:v>
                </c:pt>
                <c:pt idx="110">
                  <c:v>0.83599999999999997</c:v>
                </c:pt>
                <c:pt idx="111">
                  <c:v>0.81</c:v>
                </c:pt>
                <c:pt idx="112">
                  <c:v>0.84799999999999998</c:v>
                </c:pt>
                <c:pt idx="113">
                  <c:v>0.65400000000000003</c:v>
                </c:pt>
                <c:pt idx="114">
                  <c:v>0.64</c:v>
                </c:pt>
                <c:pt idx="115">
                  <c:v>0.6</c:v>
                </c:pt>
                <c:pt idx="116">
                  <c:v>0.38700000000000001</c:v>
                </c:pt>
                <c:pt idx="117">
                  <c:v>0.32400000000000001</c:v>
                </c:pt>
                <c:pt idx="118">
                  <c:v>0.313</c:v>
                </c:pt>
                <c:pt idx="119">
                  <c:v>0.53700000000000003</c:v>
                </c:pt>
                <c:pt idx="120">
                  <c:v>0.40799999999999997</c:v>
                </c:pt>
                <c:pt idx="121">
                  <c:v>0.74299999999999999</c:v>
                </c:pt>
                <c:pt idx="122">
                  <c:v>0.79500000000000004</c:v>
                </c:pt>
                <c:pt idx="123">
                  <c:v>0.54400000000000004</c:v>
                </c:pt>
                <c:pt idx="124">
                  <c:v>0.20100000000000001</c:v>
                </c:pt>
                <c:pt idx="125">
                  <c:v>0.17599999999999999</c:v>
                </c:pt>
                <c:pt idx="126">
                  <c:v>4.7E-2</c:v>
                </c:pt>
                <c:pt idx="127">
                  <c:v>0.157</c:v>
                </c:pt>
                <c:pt idx="128">
                  <c:v>0.70299999999999996</c:v>
                </c:pt>
                <c:pt idx="129">
                  <c:v>0.83699999999999997</c:v>
                </c:pt>
                <c:pt idx="130">
                  <c:v>0.69199999999999995</c:v>
                </c:pt>
                <c:pt idx="131">
                  <c:v>0.28199999999999997</c:v>
                </c:pt>
                <c:pt idx="132">
                  <c:v>0.128</c:v>
                </c:pt>
                <c:pt idx="133">
                  <c:v>4.4999999999999998E-2</c:v>
                </c:pt>
                <c:pt idx="134">
                  <c:v>0.27600000000000002</c:v>
                </c:pt>
                <c:pt idx="135">
                  <c:v>0.622</c:v>
                </c:pt>
                <c:pt idx="136">
                  <c:v>0.63900000000000001</c:v>
                </c:pt>
                <c:pt idx="137">
                  <c:v>0.28399999999999997</c:v>
                </c:pt>
                <c:pt idx="138">
                  <c:v>0.224</c:v>
                </c:pt>
                <c:pt idx="139">
                  <c:v>0.20100000000000001</c:v>
                </c:pt>
                <c:pt idx="140">
                  <c:v>0.307</c:v>
                </c:pt>
                <c:pt idx="141">
                  <c:v>0.503</c:v>
                </c:pt>
                <c:pt idx="142">
                  <c:v>0.88</c:v>
                </c:pt>
                <c:pt idx="143">
                  <c:v>0.81100000000000005</c:v>
                </c:pt>
                <c:pt idx="144">
                  <c:v>0.65900000000000003</c:v>
                </c:pt>
                <c:pt idx="145">
                  <c:v>0.51700000000000002</c:v>
                </c:pt>
                <c:pt idx="146">
                  <c:v>0.13</c:v>
                </c:pt>
                <c:pt idx="147">
                  <c:v>0.72099999999999997</c:v>
                </c:pt>
                <c:pt idx="148">
                  <c:v>0.86399999999999999</c:v>
                </c:pt>
                <c:pt idx="149">
                  <c:v>0.89900000000000002</c:v>
                </c:pt>
                <c:pt idx="150">
                  <c:v>0.82599999999999996</c:v>
                </c:pt>
                <c:pt idx="151">
                  <c:v>0.50900000000000001</c:v>
                </c:pt>
                <c:pt idx="152">
                  <c:v>0.14399999999999999</c:v>
                </c:pt>
                <c:pt idx="153">
                  <c:v>0.248</c:v>
                </c:pt>
                <c:pt idx="154">
                  <c:v>0.27200000000000002</c:v>
                </c:pt>
                <c:pt idx="155">
                  <c:v>0.54800000000000004</c:v>
                </c:pt>
                <c:pt idx="156">
                  <c:v>0.55700000000000005</c:v>
                </c:pt>
                <c:pt idx="157">
                  <c:v>0.34300000000000003</c:v>
                </c:pt>
                <c:pt idx="158">
                  <c:v>0.51800000000000002</c:v>
                </c:pt>
                <c:pt idx="159">
                  <c:v>0.23200000000000001</c:v>
                </c:pt>
                <c:pt idx="160">
                  <c:v>0.33100000000000002</c:v>
                </c:pt>
                <c:pt idx="161">
                  <c:v>0.60199999999999998</c:v>
                </c:pt>
                <c:pt idx="162">
                  <c:v>0.61099999999999999</c:v>
                </c:pt>
                <c:pt idx="163">
                  <c:v>0.63100000000000001</c:v>
                </c:pt>
                <c:pt idx="164">
                  <c:v>0.71299999999999997</c:v>
                </c:pt>
                <c:pt idx="165">
                  <c:v>0.49</c:v>
                </c:pt>
                <c:pt idx="166">
                  <c:v>0.34899999999999998</c:v>
                </c:pt>
                <c:pt idx="167">
                  <c:v>0.28699999999999998</c:v>
                </c:pt>
                <c:pt idx="168">
                  <c:v>0.36299999999999999</c:v>
                </c:pt>
                <c:pt idx="169">
                  <c:v>0.38400000000000001</c:v>
                </c:pt>
                <c:pt idx="170">
                  <c:v>0.57599999999999996</c:v>
                </c:pt>
                <c:pt idx="171">
                  <c:v>0.61399999999999999</c:v>
                </c:pt>
                <c:pt idx="172">
                  <c:v>0.308</c:v>
                </c:pt>
                <c:pt idx="173">
                  <c:v>0.38100000000000001</c:v>
                </c:pt>
                <c:pt idx="174">
                  <c:v>0.77500000000000002</c:v>
                </c:pt>
                <c:pt idx="175">
                  <c:v>0.54200000000000004</c:v>
                </c:pt>
                <c:pt idx="176">
                  <c:v>0.57899999999999996</c:v>
                </c:pt>
                <c:pt idx="177">
                  <c:v>0.68899999999999995</c:v>
                </c:pt>
                <c:pt idx="178">
                  <c:v>0.123</c:v>
                </c:pt>
                <c:pt idx="179">
                  <c:v>0.43</c:v>
                </c:pt>
                <c:pt idx="180">
                  <c:v>0.57699999999999996</c:v>
                </c:pt>
                <c:pt idx="181">
                  <c:v>0.71199999999999997</c:v>
                </c:pt>
                <c:pt idx="182">
                  <c:v>0.63100000000000001</c:v>
                </c:pt>
                <c:pt idx="183">
                  <c:v>0.36599999999999999</c:v>
                </c:pt>
                <c:pt idx="184">
                  <c:v>0.34699999999999998</c:v>
                </c:pt>
                <c:pt idx="185">
                  <c:v>0.21</c:v>
                </c:pt>
                <c:pt idx="186">
                  <c:v>0.60699999999999998</c:v>
                </c:pt>
                <c:pt idx="187">
                  <c:v>0.56599999999999995</c:v>
                </c:pt>
                <c:pt idx="188">
                  <c:v>0.436</c:v>
                </c:pt>
                <c:pt idx="189">
                  <c:v>0.34300000000000003</c:v>
                </c:pt>
                <c:pt idx="190">
                  <c:v>0.53600000000000003</c:v>
                </c:pt>
                <c:pt idx="191">
                  <c:v>0.54400000000000004</c:v>
                </c:pt>
                <c:pt idx="192">
                  <c:v>0.56200000000000006</c:v>
                </c:pt>
                <c:pt idx="193">
                  <c:v>0.53800000000000003</c:v>
                </c:pt>
                <c:pt idx="194">
                  <c:v>0.30399999999999999</c:v>
                </c:pt>
                <c:pt idx="195">
                  <c:v>0.66600000000000004</c:v>
                </c:pt>
                <c:pt idx="196">
                  <c:v>0.68300000000000005</c:v>
                </c:pt>
                <c:pt idx="197">
                  <c:v>0.73</c:v>
                </c:pt>
                <c:pt idx="198">
                  <c:v>0.71699999999999997</c:v>
                </c:pt>
                <c:pt idx="199">
                  <c:v>0.66800000000000004</c:v>
                </c:pt>
                <c:pt idx="200">
                  <c:v>0.26500000000000001</c:v>
                </c:pt>
                <c:pt idx="201">
                  <c:v>0.189</c:v>
                </c:pt>
                <c:pt idx="202">
                  <c:v>0.13800000000000001</c:v>
                </c:pt>
                <c:pt idx="203">
                  <c:v>0.16200000000000001</c:v>
                </c:pt>
                <c:pt idx="204">
                  <c:v>0.47499999999999998</c:v>
                </c:pt>
                <c:pt idx="205">
                  <c:v>0.624</c:v>
                </c:pt>
                <c:pt idx="206">
                  <c:v>0.67900000000000005</c:v>
                </c:pt>
                <c:pt idx="207">
                  <c:v>0.39600000000000002</c:v>
                </c:pt>
                <c:pt idx="208">
                  <c:v>0.25</c:v>
                </c:pt>
                <c:pt idx="209">
                  <c:v>0.41599999999999998</c:v>
                </c:pt>
                <c:pt idx="210">
                  <c:v>0.26600000000000001</c:v>
                </c:pt>
                <c:pt idx="211">
                  <c:v>0.49199999999999999</c:v>
                </c:pt>
                <c:pt idx="212">
                  <c:v>0.41</c:v>
                </c:pt>
                <c:pt idx="213">
                  <c:v>0.50700000000000001</c:v>
                </c:pt>
                <c:pt idx="214">
                  <c:v>0.70499999999999996</c:v>
                </c:pt>
                <c:pt idx="215">
                  <c:v>0.52</c:v>
                </c:pt>
                <c:pt idx="216">
                  <c:v>0.625</c:v>
                </c:pt>
                <c:pt idx="217">
                  <c:v>0.45100000000000001</c:v>
                </c:pt>
                <c:pt idx="218">
                  <c:v>0.29799999999999999</c:v>
                </c:pt>
                <c:pt idx="219">
                  <c:v>0.39700000000000002</c:v>
                </c:pt>
                <c:pt idx="220">
                  <c:v>0.4</c:v>
                </c:pt>
                <c:pt idx="221">
                  <c:v>0.40200000000000002</c:v>
                </c:pt>
                <c:pt idx="222">
                  <c:v>0.36899999999999999</c:v>
                </c:pt>
                <c:pt idx="223">
                  <c:v>0.38500000000000001</c:v>
                </c:pt>
                <c:pt idx="224">
                  <c:v>0.48599999999999999</c:v>
                </c:pt>
                <c:pt idx="225">
                  <c:v>0.36399999999999999</c:v>
                </c:pt>
                <c:pt idx="226">
                  <c:v>0.65</c:v>
                </c:pt>
                <c:pt idx="227">
                  <c:v>0.76200000000000001</c:v>
                </c:pt>
                <c:pt idx="228">
                  <c:v>0.57799999999999996</c:v>
                </c:pt>
                <c:pt idx="229">
                  <c:v>0.59299999999999997</c:v>
                </c:pt>
                <c:pt idx="230">
                  <c:v>0.45200000000000001</c:v>
                </c:pt>
                <c:pt idx="231">
                  <c:v>0.22500000000000001</c:v>
                </c:pt>
                <c:pt idx="232">
                  <c:v>0.25</c:v>
                </c:pt>
                <c:pt idx="233">
                  <c:v>0.51900000000000002</c:v>
                </c:pt>
                <c:pt idx="234">
                  <c:v>0.76</c:v>
                </c:pt>
                <c:pt idx="235">
                  <c:v>0.69299999999999995</c:v>
                </c:pt>
                <c:pt idx="236">
                  <c:v>0.70299999999999996</c:v>
                </c:pt>
                <c:pt idx="237">
                  <c:v>0.53500000000000003</c:v>
                </c:pt>
                <c:pt idx="238">
                  <c:v>0.247</c:v>
                </c:pt>
                <c:pt idx="239">
                  <c:v>0.376</c:v>
                </c:pt>
                <c:pt idx="240">
                  <c:v>0.50800000000000001</c:v>
                </c:pt>
                <c:pt idx="241">
                  <c:v>0.443</c:v>
                </c:pt>
                <c:pt idx="242">
                  <c:v>0.442</c:v>
                </c:pt>
                <c:pt idx="243">
                  <c:v>0.40699999999999997</c:v>
                </c:pt>
                <c:pt idx="244">
                  <c:v>0.47899999999999998</c:v>
                </c:pt>
                <c:pt idx="245">
                  <c:v>0.49299999999999999</c:v>
                </c:pt>
                <c:pt idx="246">
                  <c:v>0.58499999999999996</c:v>
                </c:pt>
                <c:pt idx="247">
                  <c:v>0.76500000000000001</c:v>
                </c:pt>
                <c:pt idx="248">
                  <c:v>0.71699999999999997</c:v>
                </c:pt>
                <c:pt idx="249">
                  <c:v>0.77100000000000002</c:v>
                </c:pt>
                <c:pt idx="250">
                  <c:v>0.51600000000000001</c:v>
                </c:pt>
                <c:pt idx="251">
                  <c:v>0.19900000000000001</c:v>
                </c:pt>
                <c:pt idx="252">
                  <c:v>0.74199999999999999</c:v>
                </c:pt>
                <c:pt idx="253">
                  <c:v>0.80200000000000005</c:v>
                </c:pt>
                <c:pt idx="254">
                  <c:v>0.85799999999999998</c:v>
                </c:pt>
                <c:pt idx="255">
                  <c:v>0.77200000000000002</c:v>
                </c:pt>
                <c:pt idx="256">
                  <c:v>0.20699999999999999</c:v>
                </c:pt>
                <c:pt idx="257">
                  <c:v>0.11600000000000001</c:v>
                </c:pt>
                <c:pt idx="258">
                  <c:v>0.112</c:v>
                </c:pt>
                <c:pt idx="259">
                  <c:v>0.22</c:v>
                </c:pt>
                <c:pt idx="260">
                  <c:v>0.30299999999999999</c:v>
                </c:pt>
                <c:pt idx="261">
                  <c:v>0.56699999999999995</c:v>
                </c:pt>
                <c:pt idx="262">
                  <c:v>0.53</c:v>
                </c:pt>
                <c:pt idx="263">
                  <c:v>0.59299999999999997</c:v>
                </c:pt>
                <c:pt idx="264">
                  <c:v>0.52200000000000002</c:v>
                </c:pt>
                <c:pt idx="265">
                  <c:v>0.53200000000000003</c:v>
                </c:pt>
                <c:pt idx="266">
                  <c:v>0.66900000000000004</c:v>
                </c:pt>
                <c:pt idx="267">
                  <c:v>0.56499999999999995</c:v>
                </c:pt>
                <c:pt idx="268">
                  <c:v>0.61499999999999999</c:v>
                </c:pt>
                <c:pt idx="269">
                  <c:v>0.53900000000000003</c:v>
                </c:pt>
                <c:pt idx="270">
                  <c:v>0.34399999999999997</c:v>
                </c:pt>
                <c:pt idx="271">
                  <c:v>0.58299999999999996</c:v>
                </c:pt>
                <c:pt idx="272">
                  <c:v>0.375</c:v>
                </c:pt>
                <c:pt idx="273">
                  <c:v>0.35799999999999998</c:v>
                </c:pt>
                <c:pt idx="274">
                  <c:v>0.33900000000000002</c:v>
                </c:pt>
                <c:pt idx="275">
                  <c:v>0.28699999999999998</c:v>
                </c:pt>
                <c:pt idx="276">
                  <c:v>0.5</c:v>
                </c:pt>
                <c:pt idx="277">
                  <c:v>0.29199999999999998</c:v>
                </c:pt>
                <c:pt idx="278">
                  <c:v>0.56799999999999995</c:v>
                </c:pt>
                <c:pt idx="279">
                  <c:v>0.78800000000000003</c:v>
                </c:pt>
                <c:pt idx="280">
                  <c:v>0.57099999999999995</c:v>
                </c:pt>
                <c:pt idx="281">
                  <c:v>0.66900000000000004</c:v>
                </c:pt>
                <c:pt idx="282">
                  <c:v>0.47499999999999998</c:v>
                </c:pt>
                <c:pt idx="283">
                  <c:v>0.16900000000000001</c:v>
                </c:pt>
                <c:pt idx="284">
                  <c:v>0.30199999999999999</c:v>
                </c:pt>
                <c:pt idx="285">
                  <c:v>0.47</c:v>
                </c:pt>
                <c:pt idx="286">
                  <c:v>0.47499999999999998</c:v>
                </c:pt>
                <c:pt idx="287">
                  <c:v>0.372</c:v>
                </c:pt>
                <c:pt idx="288">
                  <c:v>0.28100000000000003</c:v>
                </c:pt>
                <c:pt idx="289">
                  <c:v>0.20699999999999999</c:v>
                </c:pt>
                <c:pt idx="290">
                  <c:v>0.48599999999999999</c:v>
                </c:pt>
                <c:pt idx="291">
                  <c:v>0.65600000000000003</c:v>
                </c:pt>
                <c:pt idx="292">
                  <c:v>0.58899999999999997</c:v>
                </c:pt>
                <c:pt idx="293">
                  <c:v>0.73699999999999999</c:v>
                </c:pt>
                <c:pt idx="294">
                  <c:v>0.438</c:v>
                </c:pt>
                <c:pt idx="295">
                  <c:v>0.5520000000000000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C3D4-4008-98E4-DF2CEAE4EF07}"/>
            </c:ext>
          </c:extLst>
        </c:ser>
        <c:ser>
          <c:idx val="2"/>
          <c:order val="3"/>
          <c:tx>
            <c:strRef>
              <c:f>股票择时信号!$AD$7</c:f>
              <c:strCache>
                <c:ptCount val="1"/>
                <c:pt idx="0">
                  <c:v>新房房价同比增速（负相关，已取负值）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6</c:f>
              <c:numCache>
                <c:formatCode>yyyy\-mm\-dd</c:formatCode>
                <c:ptCount val="296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  <c:pt idx="295">
                  <c:v>45998</c:v>
                </c:pt>
              </c:numCache>
            </c:numRef>
          </c:cat>
          <c:val>
            <c:numRef>
              <c:f>股票择时信号!$AD$11:$AD$306</c:f>
              <c:numCache>
                <c:formatCode>0.0%</c:formatCode>
                <c:ptCount val="296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.8</c:v>
                </c:pt>
                <c:pt idx="6">
                  <c:v>0.66600000000000004</c:v>
                </c:pt>
                <c:pt idx="7">
                  <c:v>0.57099999999999995</c:v>
                </c:pt>
                <c:pt idx="8">
                  <c:v>0.5</c:v>
                </c:pt>
                <c:pt idx="9">
                  <c:v>0.44400000000000001</c:v>
                </c:pt>
                <c:pt idx="10">
                  <c:v>0.9</c:v>
                </c:pt>
                <c:pt idx="11">
                  <c:v>0.81799999999999995</c:v>
                </c:pt>
                <c:pt idx="12">
                  <c:v>0.75</c:v>
                </c:pt>
                <c:pt idx="13">
                  <c:v>0.69199999999999995</c:v>
                </c:pt>
                <c:pt idx="14">
                  <c:v>0.64200000000000002</c:v>
                </c:pt>
                <c:pt idx="15">
                  <c:v>0.6</c:v>
                </c:pt>
                <c:pt idx="16">
                  <c:v>0.56200000000000006</c:v>
                </c:pt>
                <c:pt idx="17">
                  <c:v>0.52900000000000003</c:v>
                </c:pt>
                <c:pt idx="18">
                  <c:v>0.94399999999999995</c:v>
                </c:pt>
                <c:pt idx="19">
                  <c:v>0.89400000000000002</c:v>
                </c:pt>
                <c:pt idx="20">
                  <c:v>0.85</c:v>
                </c:pt>
                <c:pt idx="21">
                  <c:v>0.80900000000000005</c:v>
                </c:pt>
                <c:pt idx="22">
                  <c:v>0.77200000000000002</c:v>
                </c:pt>
                <c:pt idx="23">
                  <c:v>0.95599999999999996</c:v>
                </c:pt>
                <c:pt idx="24">
                  <c:v>0.91600000000000004</c:v>
                </c:pt>
                <c:pt idx="25">
                  <c:v>0.88</c:v>
                </c:pt>
                <c:pt idx="26">
                  <c:v>0.84599999999999997</c:v>
                </c:pt>
                <c:pt idx="27">
                  <c:v>0.81399999999999995</c:v>
                </c:pt>
                <c:pt idx="28">
                  <c:v>0.96399999999999997</c:v>
                </c:pt>
                <c:pt idx="29">
                  <c:v>0.93100000000000005</c:v>
                </c:pt>
                <c:pt idx="30">
                  <c:v>0.9</c:v>
                </c:pt>
                <c:pt idx="31">
                  <c:v>0.87</c:v>
                </c:pt>
                <c:pt idx="32">
                  <c:v>0.96799999999999997</c:v>
                </c:pt>
                <c:pt idx="33">
                  <c:v>0.93899999999999995</c:v>
                </c:pt>
                <c:pt idx="34">
                  <c:v>0.91100000000000003</c:v>
                </c:pt>
                <c:pt idx="35">
                  <c:v>0.88500000000000001</c:v>
                </c:pt>
                <c:pt idx="36">
                  <c:v>0.97199999999999998</c:v>
                </c:pt>
                <c:pt idx="37">
                  <c:v>0.94499999999999995</c:v>
                </c:pt>
                <c:pt idx="38">
                  <c:v>0.92100000000000004</c:v>
                </c:pt>
                <c:pt idx="39">
                  <c:v>0.89700000000000002</c:v>
                </c:pt>
                <c:pt idx="40">
                  <c:v>0.875</c:v>
                </c:pt>
                <c:pt idx="41">
                  <c:v>0.97499999999999998</c:v>
                </c:pt>
                <c:pt idx="42">
                  <c:v>0.95199999999999996</c:v>
                </c:pt>
                <c:pt idx="43">
                  <c:v>0.93</c:v>
                </c:pt>
                <c:pt idx="44">
                  <c:v>0.90900000000000003</c:v>
                </c:pt>
                <c:pt idx="45">
                  <c:v>0.88800000000000001</c:v>
                </c:pt>
                <c:pt idx="46">
                  <c:v>0.86899999999999999</c:v>
                </c:pt>
                <c:pt idx="47">
                  <c:v>0.85099999999999998</c:v>
                </c:pt>
                <c:pt idx="48">
                  <c:v>0.83299999999999996</c:v>
                </c:pt>
                <c:pt idx="49">
                  <c:v>0.71399999999999997</c:v>
                </c:pt>
                <c:pt idx="50">
                  <c:v>0.7</c:v>
                </c:pt>
                <c:pt idx="51">
                  <c:v>0.68600000000000005</c:v>
                </c:pt>
                <c:pt idx="52">
                  <c:v>0.67300000000000004</c:v>
                </c:pt>
                <c:pt idx="53">
                  <c:v>0.58399999999999996</c:v>
                </c:pt>
                <c:pt idx="54">
                  <c:v>0.57399999999999995</c:v>
                </c:pt>
                <c:pt idx="55">
                  <c:v>0.56299999999999994</c:v>
                </c:pt>
                <c:pt idx="56">
                  <c:v>0.55300000000000005</c:v>
                </c:pt>
                <c:pt idx="57">
                  <c:v>0.54300000000000004</c:v>
                </c:pt>
                <c:pt idx="58">
                  <c:v>0.53400000000000003</c:v>
                </c:pt>
                <c:pt idx="59">
                  <c:v>0.52500000000000002</c:v>
                </c:pt>
                <c:pt idx="60">
                  <c:v>0.51600000000000001</c:v>
                </c:pt>
                <c:pt idx="61">
                  <c:v>0.50800000000000001</c:v>
                </c:pt>
                <c:pt idx="62">
                  <c:v>0.435</c:v>
                </c:pt>
                <c:pt idx="63">
                  <c:v>0.42799999999999999</c:v>
                </c:pt>
                <c:pt idx="64">
                  <c:v>0.42099999999999999</c:v>
                </c:pt>
                <c:pt idx="65">
                  <c:v>0.41499999999999998</c:v>
                </c:pt>
                <c:pt idx="66">
                  <c:v>0.66600000000000004</c:v>
                </c:pt>
                <c:pt idx="67">
                  <c:v>0.65600000000000003</c:v>
                </c:pt>
                <c:pt idx="68">
                  <c:v>0.64700000000000002</c:v>
                </c:pt>
                <c:pt idx="69">
                  <c:v>0.63700000000000001</c:v>
                </c:pt>
                <c:pt idx="70">
                  <c:v>0.628</c:v>
                </c:pt>
                <c:pt idx="71">
                  <c:v>0.746</c:v>
                </c:pt>
                <c:pt idx="72">
                  <c:v>0.73599999999999999</c:v>
                </c:pt>
                <c:pt idx="73">
                  <c:v>0.72599999999999998</c:v>
                </c:pt>
                <c:pt idx="74">
                  <c:v>0.71599999999999997</c:v>
                </c:pt>
                <c:pt idx="75">
                  <c:v>0.88</c:v>
                </c:pt>
                <c:pt idx="76">
                  <c:v>0.86799999999999999</c:v>
                </c:pt>
                <c:pt idx="77">
                  <c:v>0.85699999999999998</c:v>
                </c:pt>
                <c:pt idx="78">
                  <c:v>0.84599999999999997</c:v>
                </c:pt>
                <c:pt idx="79">
                  <c:v>0.83499999999999996</c:v>
                </c:pt>
                <c:pt idx="80">
                  <c:v>0.98699999999999999</c:v>
                </c:pt>
                <c:pt idx="81">
                  <c:v>0.97499999999999998</c:v>
                </c:pt>
                <c:pt idx="82">
                  <c:v>0.96299999999999997</c:v>
                </c:pt>
                <c:pt idx="83">
                  <c:v>0.95099999999999996</c:v>
                </c:pt>
                <c:pt idx="84">
                  <c:v>0.98799999999999999</c:v>
                </c:pt>
                <c:pt idx="85">
                  <c:v>0.97599999999999998</c:v>
                </c:pt>
                <c:pt idx="86">
                  <c:v>0.96499999999999997</c:v>
                </c:pt>
                <c:pt idx="87">
                  <c:v>0.95399999999999996</c:v>
                </c:pt>
                <c:pt idx="88">
                  <c:v>0.98799999999999999</c:v>
                </c:pt>
                <c:pt idx="89">
                  <c:v>0.97699999999999998</c:v>
                </c:pt>
                <c:pt idx="90">
                  <c:v>0.96599999999999997</c:v>
                </c:pt>
                <c:pt idx="91">
                  <c:v>0.95599999999999996</c:v>
                </c:pt>
                <c:pt idx="92">
                  <c:v>0.94499999999999995</c:v>
                </c:pt>
                <c:pt idx="93">
                  <c:v>0.98899999999999999</c:v>
                </c:pt>
                <c:pt idx="94">
                  <c:v>0.97799999999999998</c:v>
                </c:pt>
                <c:pt idx="95">
                  <c:v>0.96799999999999997</c:v>
                </c:pt>
                <c:pt idx="96">
                  <c:v>0.95799999999999996</c:v>
                </c:pt>
                <c:pt idx="97">
                  <c:v>0.94799999999999995</c:v>
                </c:pt>
                <c:pt idx="98">
                  <c:v>0.98899999999999999</c:v>
                </c:pt>
                <c:pt idx="99">
                  <c:v>0.97899999999999998</c:v>
                </c:pt>
                <c:pt idx="100">
                  <c:v>0.97</c:v>
                </c:pt>
                <c:pt idx="101">
                  <c:v>0.99</c:v>
                </c:pt>
                <c:pt idx="102">
                  <c:v>0.98</c:v>
                </c:pt>
                <c:pt idx="103">
                  <c:v>0.97</c:v>
                </c:pt>
                <c:pt idx="104">
                  <c:v>0.96099999999999997</c:v>
                </c:pt>
                <c:pt idx="105">
                  <c:v>0.95199999999999996</c:v>
                </c:pt>
                <c:pt idx="106">
                  <c:v>0.99</c:v>
                </c:pt>
                <c:pt idx="107">
                  <c:v>0.98099999999999998</c:v>
                </c:pt>
                <c:pt idx="108">
                  <c:v>0.97199999999999998</c:v>
                </c:pt>
                <c:pt idx="109">
                  <c:v>0.96299999999999997</c:v>
                </c:pt>
                <c:pt idx="110">
                  <c:v>1</c:v>
                </c:pt>
                <c:pt idx="111">
                  <c:v>0.99</c:v>
                </c:pt>
                <c:pt idx="112">
                  <c:v>0.98199999999999998</c:v>
                </c:pt>
                <c:pt idx="113">
                  <c:v>0.97299999999999998</c:v>
                </c:pt>
                <c:pt idx="114">
                  <c:v>1</c:v>
                </c:pt>
                <c:pt idx="115">
                  <c:v>0.99099999999999999</c:v>
                </c:pt>
                <c:pt idx="116">
                  <c:v>0.98199999999999998</c:v>
                </c:pt>
                <c:pt idx="117">
                  <c:v>0.97399999999999998</c:v>
                </c:pt>
                <c:pt idx="118">
                  <c:v>1</c:v>
                </c:pt>
                <c:pt idx="119">
                  <c:v>0.99099999999999999</c:v>
                </c:pt>
                <c:pt idx="120">
                  <c:v>0.98299999999999998</c:v>
                </c:pt>
                <c:pt idx="121">
                  <c:v>0.97499999999999998</c:v>
                </c:pt>
                <c:pt idx="122">
                  <c:v>0.96699999999999997</c:v>
                </c:pt>
                <c:pt idx="123">
                  <c:v>1</c:v>
                </c:pt>
                <c:pt idx="124">
                  <c:v>0.99099999999999999</c:v>
                </c:pt>
                <c:pt idx="125">
                  <c:v>0.98399999999999999</c:v>
                </c:pt>
                <c:pt idx="126">
                  <c:v>0.97599999999999998</c:v>
                </c:pt>
                <c:pt idx="127">
                  <c:v>1</c:v>
                </c:pt>
                <c:pt idx="128">
                  <c:v>0.99199999999999999</c:v>
                </c:pt>
                <c:pt idx="129">
                  <c:v>0.98399999999999999</c:v>
                </c:pt>
                <c:pt idx="130">
                  <c:v>0.97599999999999998</c:v>
                </c:pt>
                <c:pt idx="131">
                  <c:v>0.96899999999999997</c:v>
                </c:pt>
                <c:pt idx="132">
                  <c:v>0.96199999999999997</c:v>
                </c:pt>
                <c:pt idx="133">
                  <c:v>1</c:v>
                </c:pt>
                <c:pt idx="134">
                  <c:v>0.99199999999999999</c:v>
                </c:pt>
                <c:pt idx="135">
                  <c:v>0.98499999999999999</c:v>
                </c:pt>
                <c:pt idx="136">
                  <c:v>1</c:v>
                </c:pt>
                <c:pt idx="137">
                  <c:v>0.99199999999999999</c:v>
                </c:pt>
                <c:pt idx="138">
                  <c:v>0.98499999999999999</c:v>
                </c:pt>
                <c:pt idx="139">
                  <c:v>0.97799999999999998</c:v>
                </c:pt>
                <c:pt idx="140">
                  <c:v>0.95</c:v>
                </c:pt>
                <c:pt idx="141">
                  <c:v>0.94299999999999995</c:v>
                </c:pt>
                <c:pt idx="142">
                  <c:v>0.93600000000000005</c:v>
                </c:pt>
                <c:pt idx="143">
                  <c:v>0.93</c:v>
                </c:pt>
                <c:pt idx="144">
                  <c:v>0.92300000000000004</c:v>
                </c:pt>
                <c:pt idx="145">
                  <c:v>0.91700000000000004</c:v>
                </c:pt>
                <c:pt idx="146">
                  <c:v>0.91</c:v>
                </c:pt>
                <c:pt idx="147">
                  <c:v>0.90400000000000003</c:v>
                </c:pt>
                <c:pt idx="148">
                  <c:v>0.89800000000000002</c:v>
                </c:pt>
                <c:pt idx="149">
                  <c:v>0.89200000000000002</c:v>
                </c:pt>
                <c:pt idx="150">
                  <c:v>0.88600000000000001</c:v>
                </c:pt>
                <c:pt idx="151">
                  <c:v>0.88</c:v>
                </c:pt>
                <c:pt idx="152">
                  <c:v>0.875</c:v>
                </c:pt>
                <c:pt idx="153">
                  <c:v>0.83</c:v>
                </c:pt>
                <c:pt idx="154">
                  <c:v>0.82399999999999995</c:v>
                </c:pt>
                <c:pt idx="155">
                  <c:v>0.81899999999999995</c:v>
                </c:pt>
                <c:pt idx="156">
                  <c:v>0.81399999999999995</c:v>
                </c:pt>
                <c:pt idx="157">
                  <c:v>0.80800000000000005</c:v>
                </c:pt>
                <c:pt idx="158">
                  <c:v>0.77800000000000002</c:v>
                </c:pt>
                <c:pt idx="159">
                  <c:v>0.77300000000000002</c:v>
                </c:pt>
                <c:pt idx="160">
                  <c:v>0.76800000000000002</c:v>
                </c:pt>
                <c:pt idx="161">
                  <c:v>0.76300000000000001</c:v>
                </c:pt>
                <c:pt idx="162">
                  <c:v>0.70299999999999996</c:v>
                </c:pt>
                <c:pt idx="163">
                  <c:v>0.69899999999999995</c:v>
                </c:pt>
                <c:pt idx="164">
                  <c:v>0.69499999999999995</c:v>
                </c:pt>
                <c:pt idx="165">
                  <c:v>0.69</c:v>
                </c:pt>
                <c:pt idx="166">
                  <c:v>0.68600000000000005</c:v>
                </c:pt>
                <c:pt idx="167">
                  <c:v>0.68200000000000005</c:v>
                </c:pt>
                <c:pt idx="168">
                  <c:v>0.67800000000000005</c:v>
                </c:pt>
                <c:pt idx="169">
                  <c:v>0.67400000000000004</c:v>
                </c:pt>
                <c:pt idx="170">
                  <c:v>0.67</c:v>
                </c:pt>
                <c:pt idx="171">
                  <c:v>0.66600000000000004</c:v>
                </c:pt>
                <c:pt idx="172">
                  <c:v>0.66200000000000003</c:v>
                </c:pt>
                <c:pt idx="173">
                  <c:v>0.65800000000000003</c:v>
                </c:pt>
                <c:pt idx="174">
                  <c:v>0.65500000000000003</c:v>
                </c:pt>
                <c:pt idx="175">
                  <c:v>0.70199999999999996</c:v>
                </c:pt>
                <c:pt idx="176">
                  <c:v>0.69799999999999995</c:v>
                </c:pt>
                <c:pt idx="177">
                  <c:v>0.69399999999999995</c:v>
                </c:pt>
                <c:pt idx="178">
                  <c:v>0.69099999999999995</c:v>
                </c:pt>
                <c:pt idx="179">
                  <c:v>0.68700000000000006</c:v>
                </c:pt>
                <c:pt idx="180">
                  <c:v>0.68300000000000005</c:v>
                </c:pt>
                <c:pt idx="181">
                  <c:v>0.67900000000000005</c:v>
                </c:pt>
                <c:pt idx="182">
                  <c:v>0.67500000000000004</c:v>
                </c:pt>
                <c:pt idx="183">
                  <c:v>0.67200000000000004</c:v>
                </c:pt>
                <c:pt idx="184">
                  <c:v>0.66800000000000004</c:v>
                </c:pt>
                <c:pt idx="185">
                  <c:v>0.66400000000000003</c:v>
                </c:pt>
                <c:pt idx="186">
                  <c:v>0.66100000000000003</c:v>
                </c:pt>
                <c:pt idx="187">
                  <c:v>0.65700000000000003</c:v>
                </c:pt>
                <c:pt idx="188">
                  <c:v>0.65400000000000003</c:v>
                </c:pt>
                <c:pt idx="189">
                  <c:v>0.65</c:v>
                </c:pt>
                <c:pt idx="190">
                  <c:v>0.64700000000000002</c:v>
                </c:pt>
                <c:pt idx="191">
                  <c:v>0.64300000000000002</c:v>
                </c:pt>
                <c:pt idx="192">
                  <c:v>0.72899999999999998</c:v>
                </c:pt>
                <c:pt idx="193">
                  <c:v>0.72499999999999998</c:v>
                </c:pt>
                <c:pt idx="194">
                  <c:v>0.72099999999999997</c:v>
                </c:pt>
                <c:pt idx="195">
                  <c:v>0.71699999999999997</c:v>
                </c:pt>
                <c:pt idx="196">
                  <c:v>0.71399999999999997</c:v>
                </c:pt>
                <c:pt idx="197">
                  <c:v>0.77600000000000002</c:v>
                </c:pt>
                <c:pt idx="198">
                  <c:v>0.77200000000000002</c:v>
                </c:pt>
                <c:pt idx="199">
                  <c:v>0.76800000000000002</c:v>
                </c:pt>
                <c:pt idx="200">
                  <c:v>0.76500000000000001</c:v>
                </c:pt>
                <c:pt idx="201">
                  <c:v>0.76100000000000001</c:v>
                </c:pt>
                <c:pt idx="202">
                  <c:v>0.78200000000000003</c:v>
                </c:pt>
                <c:pt idx="203">
                  <c:v>0.77800000000000002</c:v>
                </c:pt>
                <c:pt idx="204">
                  <c:v>0.77400000000000002</c:v>
                </c:pt>
                <c:pt idx="205">
                  <c:v>0.77</c:v>
                </c:pt>
                <c:pt idx="206">
                  <c:v>0.84899999999999998</c:v>
                </c:pt>
                <c:pt idx="207">
                  <c:v>0.84499999999999997</c:v>
                </c:pt>
                <c:pt idx="208">
                  <c:v>0.84099999999999997</c:v>
                </c:pt>
                <c:pt idx="209">
                  <c:v>0.83699999999999997</c:v>
                </c:pt>
                <c:pt idx="210">
                  <c:v>1</c:v>
                </c:pt>
                <c:pt idx="211">
                  <c:v>0.995</c:v>
                </c:pt>
                <c:pt idx="212">
                  <c:v>0.99</c:v>
                </c:pt>
                <c:pt idx="213">
                  <c:v>0.98499999999999999</c:v>
                </c:pt>
                <c:pt idx="214">
                  <c:v>1</c:v>
                </c:pt>
                <c:pt idx="215">
                  <c:v>0.995</c:v>
                </c:pt>
                <c:pt idx="216">
                  <c:v>0.99</c:v>
                </c:pt>
                <c:pt idx="217">
                  <c:v>0.98599999999999999</c:v>
                </c:pt>
                <c:pt idx="218">
                  <c:v>0.98099999999999998</c:v>
                </c:pt>
                <c:pt idx="219">
                  <c:v>1</c:v>
                </c:pt>
                <c:pt idx="220">
                  <c:v>0.995</c:v>
                </c:pt>
                <c:pt idx="221">
                  <c:v>0.99</c:v>
                </c:pt>
                <c:pt idx="222">
                  <c:v>0.98599999999999999</c:v>
                </c:pt>
                <c:pt idx="223">
                  <c:v>1</c:v>
                </c:pt>
                <c:pt idx="224">
                  <c:v>0.995</c:v>
                </c:pt>
                <c:pt idx="225">
                  <c:v>0.99099999999999999</c:v>
                </c:pt>
                <c:pt idx="226">
                  <c:v>0.98599999999999999</c:v>
                </c:pt>
                <c:pt idx="227">
                  <c:v>1</c:v>
                </c:pt>
                <c:pt idx="228">
                  <c:v>0.995</c:v>
                </c:pt>
                <c:pt idx="229">
                  <c:v>0.99099999999999999</c:v>
                </c:pt>
                <c:pt idx="230">
                  <c:v>0.98599999999999999</c:v>
                </c:pt>
                <c:pt idx="231">
                  <c:v>1</c:v>
                </c:pt>
                <c:pt idx="232">
                  <c:v>0.995</c:v>
                </c:pt>
                <c:pt idx="233">
                  <c:v>0.99099999999999999</c:v>
                </c:pt>
                <c:pt idx="234">
                  <c:v>0.98699999999999999</c:v>
                </c:pt>
                <c:pt idx="235">
                  <c:v>0.98199999999999998</c:v>
                </c:pt>
                <c:pt idx="236">
                  <c:v>1</c:v>
                </c:pt>
                <c:pt idx="237">
                  <c:v>0.995</c:v>
                </c:pt>
                <c:pt idx="238">
                  <c:v>0.99099999999999999</c:v>
                </c:pt>
                <c:pt idx="239">
                  <c:v>0.98699999999999999</c:v>
                </c:pt>
                <c:pt idx="240">
                  <c:v>1</c:v>
                </c:pt>
                <c:pt idx="241">
                  <c:v>0.995</c:v>
                </c:pt>
                <c:pt idx="242">
                  <c:v>0.99099999999999999</c:v>
                </c:pt>
                <c:pt idx="243">
                  <c:v>0.98699999999999999</c:v>
                </c:pt>
                <c:pt idx="244">
                  <c:v>0.98299999999999998</c:v>
                </c:pt>
                <c:pt idx="245">
                  <c:v>0.96299999999999997</c:v>
                </c:pt>
                <c:pt idx="246">
                  <c:v>0.95899999999999996</c:v>
                </c:pt>
                <c:pt idx="247">
                  <c:v>0.95499999999999996</c:v>
                </c:pt>
                <c:pt idx="248">
                  <c:v>0.95099999999999996</c:v>
                </c:pt>
                <c:pt idx="249">
                  <c:v>0.92700000000000005</c:v>
                </c:pt>
                <c:pt idx="250">
                  <c:v>0.92400000000000004</c:v>
                </c:pt>
                <c:pt idx="251">
                  <c:v>0.92</c:v>
                </c:pt>
                <c:pt idx="252">
                  <c:v>0.91600000000000004</c:v>
                </c:pt>
                <c:pt idx="253">
                  <c:v>0.91300000000000003</c:v>
                </c:pt>
                <c:pt idx="254">
                  <c:v>0.90900000000000003</c:v>
                </c:pt>
                <c:pt idx="255">
                  <c:v>0.90500000000000003</c:v>
                </c:pt>
                <c:pt idx="256">
                  <c:v>0.90200000000000002</c:v>
                </c:pt>
                <c:pt idx="257">
                  <c:v>0.89800000000000002</c:v>
                </c:pt>
                <c:pt idx="258">
                  <c:v>0.879</c:v>
                </c:pt>
                <c:pt idx="259">
                  <c:v>0.876</c:v>
                </c:pt>
                <c:pt idx="260">
                  <c:v>0.873</c:v>
                </c:pt>
                <c:pt idx="261">
                  <c:v>0.86899999999999999</c:v>
                </c:pt>
                <c:pt idx="262">
                  <c:v>0.86599999999999999</c:v>
                </c:pt>
                <c:pt idx="263">
                  <c:v>0.86299999999999999</c:v>
                </c:pt>
                <c:pt idx="264">
                  <c:v>0.85899999999999999</c:v>
                </c:pt>
                <c:pt idx="265">
                  <c:v>0.85599999999999998</c:v>
                </c:pt>
                <c:pt idx="266">
                  <c:v>0.85299999999999998</c:v>
                </c:pt>
                <c:pt idx="267">
                  <c:v>0.83499999999999996</c:v>
                </c:pt>
                <c:pt idx="268">
                  <c:v>0.83199999999999996</c:v>
                </c:pt>
                <c:pt idx="269">
                  <c:v>0.82799999999999996</c:v>
                </c:pt>
                <c:pt idx="270">
                  <c:v>0.82499999999999996</c:v>
                </c:pt>
                <c:pt idx="271">
                  <c:v>0.80800000000000005</c:v>
                </c:pt>
                <c:pt idx="272">
                  <c:v>0.80500000000000005</c:v>
                </c:pt>
                <c:pt idx="273">
                  <c:v>0.80200000000000005</c:v>
                </c:pt>
                <c:pt idx="274">
                  <c:v>0.79900000000000004</c:v>
                </c:pt>
                <c:pt idx="275">
                  <c:v>0.79600000000000004</c:v>
                </c:pt>
                <c:pt idx="276">
                  <c:v>0.79300000000000004</c:v>
                </c:pt>
                <c:pt idx="277">
                  <c:v>0.79</c:v>
                </c:pt>
                <c:pt idx="278">
                  <c:v>0.78700000000000003</c:v>
                </c:pt>
                <c:pt idx="279">
                  <c:v>0.76700000000000002</c:v>
                </c:pt>
                <c:pt idx="280">
                  <c:v>0.76400000000000001</c:v>
                </c:pt>
                <c:pt idx="281">
                  <c:v>0.76100000000000001</c:v>
                </c:pt>
                <c:pt idx="282">
                  <c:v>0.75800000000000001</c:v>
                </c:pt>
                <c:pt idx="283">
                  <c:v>0.75600000000000001</c:v>
                </c:pt>
                <c:pt idx="284">
                  <c:v>0.753</c:v>
                </c:pt>
                <c:pt idx="285">
                  <c:v>0.75</c:v>
                </c:pt>
                <c:pt idx="286">
                  <c:v>0.748</c:v>
                </c:pt>
                <c:pt idx="287">
                  <c:v>0.745</c:v>
                </c:pt>
                <c:pt idx="288">
                  <c:v>0.74299999999999999</c:v>
                </c:pt>
                <c:pt idx="289">
                  <c:v>0.72599999999999998</c:v>
                </c:pt>
                <c:pt idx="290">
                  <c:v>0.72399999999999998</c:v>
                </c:pt>
                <c:pt idx="291">
                  <c:v>0.72099999999999997</c:v>
                </c:pt>
                <c:pt idx="292">
                  <c:v>0.71899999999999997</c:v>
                </c:pt>
                <c:pt idx="293">
                  <c:v>0.71599999999999997</c:v>
                </c:pt>
                <c:pt idx="294">
                  <c:v>0.71399999999999997</c:v>
                </c:pt>
                <c:pt idx="295">
                  <c:v>0.7109999999999999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C3D4-4008-98E4-DF2CEAE4EF07}"/>
            </c:ext>
          </c:extLst>
        </c:ser>
        <c:ser>
          <c:idx val="3"/>
          <c:order val="4"/>
          <c:tx>
            <c:strRef>
              <c:f>股票择时信号!$AE$7</c:f>
              <c:strCache>
                <c:ptCount val="1"/>
                <c:pt idx="0">
                  <c:v>人民币兑美元离岸汇率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6</c:f>
              <c:numCache>
                <c:formatCode>yyyy\-mm\-dd</c:formatCode>
                <c:ptCount val="296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  <c:pt idx="295">
                  <c:v>45998</c:v>
                </c:pt>
              </c:numCache>
            </c:numRef>
          </c:cat>
          <c:val>
            <c:numRef>
              <c:f>股票择时信号!$AE$11:$AE$306</c:f>
              <c:numCache>
                <c:formatCode>0.0%</c:formatCode>
                <c:ptCount val="29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0.375</c:v>
                </c:pt>
                <c:pt idx="9">
                  <c:v>0.222</c:v>
                </c:pt>
                <c:pt idx="10">
                  <c:v>0.3</c:v>
                </c:pt>
                <c:pt idx="11">
                  <c:v>0.27200000000000002</c:v>
                </c:pt>
                <c:pt idx="12">
                  <c:v>8.3000000000000004E-2</c:v>
                </c:pt>
                <c:pt idx="13">
                  <c:v>0</c:v>
                </c:pt>
                <c:pt idx="14">
                  <c:v>0</c:v>
                </c:pt>
                <c:pt idx="15">
                  <c:v>6.6000000000000003E-2</c:v>
                </c:pt>
                <c:pt idx="16">
                  <c:v>6.2E-2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4.1000000000000002E-2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3.4000000000000002E-2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.03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2.7E-2</c:v>
                </c:pt>
                <c:pt idx="38">
                  <c:v>0</c:v>
                </c:pt>
                <c:pt idx="39">
                  <c:v>0</c:v>
                </c:pt>
                <c:pt idx="40">
                  <c:v>2.5000000000000001E-2</c:v>
                </c:pt>
                <c:pt idx="41">
                  <c:v>4.8000000000000001E-2</c:v>
                </c:pt>
                <c:pt idx="42">
                  <c:v>2.3E-2</c:v>
                </c:pt>
                <c:pt idx="43">
                  <c:v>2.3E-2</c:v>
                </c:pt>
                <c:pt idx="44">
                  <c:v>0</c:v>
                </c:pt>
                <c:pt idx="45">
                  <c:v>2.1999999999999999E-2</c:v>
                </c:pt>
                <c:pt idx="46">
                  <c:v>0.13</c:v>
                </c:pt>
                <c:pt idx="47">
                  <c:v>0.17</c:v>
                </c:pt>
                <c:pt idx="48">
                  <c:v>0.187</c:v>
                </c:pt>
                <c:pt idx="49">
                  <c:v>0.183</c:v>
                </c:pt>
                <c:pt idx="50">
                  <c:v>0.3</c:v>
                </c:pt>
                <c:pt idx="51">
                  <c:v>0.372</c:v>
                </c:pt>
                <c:pt idx="52">
                  <c:v>0.32600000000000001</c:v>
                </c:pt>
                <c:pt idx="53">
                  <c:v>0.30099999999999999</c:v>
                </c:pt>
                <c:pt idx="54">
                  <c:v>0.14799999999999999</c:v>
                </c:pt>
                <c:pt idx="55">
                  <c:v>0.127</c:v>
                </c:pt>
                <c:pt idx="56">
                  <c:v>3.5000000000000003E-2</c:v>
                </c:pt>
                <c:pt idx="57">
                  <c:v>1.7000000000000001E-2</c:v>
                </c:pt>
                <c:pt idx="58">
                  <c:v>1.7000000000000001E-2</c:v>
                </c:pt>
                <c:pt idx="59">
                  <c:v>0</c:v>
                </c:pt>
                <c:pt idx="60">
                  <c:v>1.6E-2</c:v>
                </c:pt>
                <c:pt idx="61">
                  <c:v>3.2000000000000001E-2</c:v>
                </c:pt>
                <c:pt idx="62">
                  <c:v>9.6000000000000002E-2</c:v>
                </c:pt>
                <c:pt idx="63">
                  <c:v>0.19</c:v>
                </c:pt>
                <c:pt idx="64">
                  <c:v>0.20300000000000001</c:v>
                </c:pt>
                <c:pt idx="65">
                  <c:v>0.26100000000000001</c:v>
                </c:pt>
                <c:pt idx="66">
                  <c:v>0.21199999999999999</c:v>
                </c:pt>
                <c:pt idx="67">
                  <c:v>0.28299999999999997</c:v>
                </c:pt>
                <c:pt idx="68">
                  <c:v>0.26400000000000001</c:v>
                </c:pt>
                <c:pt idx="69">
                  <c:v>0.20200000000000001</c:v>
                </c:pt>
                <c:pt idx="70">
                  <c:v>0.314</c:v>
                </c:pt>
                <c:pt idx="71">
                  <c:v>0.33800000000000002</c:v>
                </c:pt>
                <c:pt idx="72">
                  <c:v>0.19400000000000001</c:v>
                </c:pt>
                <c:pt idx="73">
                  <c:v>0.109</c:v>
                </c:pt>
                <c:pt idx="74">
                  <c:v>0.13500000000000001</c:v>
                </c:pt>
                <c:pt idx="75">
                  <c:v>0.14599999999999999</c:v>
                </c:pt>
                <c:pt idx="76">
                  <c:v>0.184</c:v>
                </c:pt>
                <c:pt idx="77">
                  <c:v>0.14199999999999999</c:v>
                </c:pt>
                <c:pt idx="78">
                  <c:v>0.115</c:v>
                </c:pt>
                <c:pt idx="79">
                  <c:v>7.4999999999999997E-2</c:v>
                </c:pt>
                <c:pt idx="80">
                  <c:v>2.5000000000000001E-2</c:v>
                </c:pt>
                <c:pt idx="81">
                  <c:v>4.9000000000000002E-2</c:v>
                </c:pt>
                <c:pt idx="82">
                  <c:v>0.06</c:v>
                </c:pt>
                <c:pt idx="83">
                  <c:v>1.2E-2</c:v>
                </c:pt>
                <c:pt idx="84">
                  <c:v>1.0999999999999999E-2</c:v>
                </c:pt>
                <c:pt idx="85">
                  <c:v>7.0000000000000007E-2</c:v>
                </c:pt>
                <c:pt idx="86">
                  <c:v>0</c:v>
                </c:pt>
                <c:pt idx="87">
                  <c:v>0</c:v>
                </c:pt>
                <c:pt idx="88">
                  <c:v>3.4000000000000002E-2</c:v>
                </c:pt>
                <c:pt idx="89">
                  <c:v>2.1999999999999999E-2</c:v>
                </c:pt>
                <c:pt idx="90">
                  <c:v>0</c:v>
                </c:pt>
                <c:pt idx="91">
                  <c:v>5.3999999999999999E-2</c:v>
                </c:pt>
                <c:pt idx="92">
                  <c:v>0</c:v>
                </c:pt>
                <c:pt idx="93">
                  <c:v>0</c:v>
                </c:pt>
                <c:pt idx="94">
                  <c:v>0.01</c:v>
                </c:pt>
                <c:pt idx="95">
                  <c:v>2.1000000000000001E-2</c:v>
                </c:pt>
                <c:pt idx="96">
                  <c:v>3.1E-2</c:v>
                </c:pt>
                <c:pt idx="97">
                  <c:v>0</c:v>
                </c:pt>
                <c:pt idx="98">
                  <c:v>0</c:v>
                </c:pt>
                <c:pt idx="99">
                  <c:v>0.01</c:v>
                </c:pt>
                <c:pt idx="100">
                  <c:v>0.03</c:v>
                </c:pt>
                <c:pt idx="101">
                  <c:v>0.108</c:v>
                </c:pt>
                <c:pt idx="102">
                  <c:v>0.156</c:v>
                </c:pt>
                <c:pt idx="103">
                  <c:v>8.6999999999999994E-2</c:v>
                </c:pt>
                <c:pt idx="104">
                  <c:v>9.6000000000000002E-2</c:v>
                </c:pt>
                <c:pt idx="105">
                  <c:v>0.19</c:v>
                </c:pt>
                <c:pt idx="106">
                  <c:v>0.46200000000000002</c:v>
                </c:pt>
                <c:pt idx="107">
                  <c:v>0.71</c:v>
                </c:pt>
                <c:pt idx="108">
                  <c:v>0.73099999999999998</c:v>
                </c:pt>
                <c:pt idx="109">
                  <c:v>0.77900000000000003</c:v>
                </c:pt>
                <c:pt idx="110">
                  <c:v>0.754</c:v>
                </c:pt>
                <c:pt idx="111">
                  <c:v>0.72899999999999998</c:v>
                </c:pt>
                <c:pt idx="112">
                  <c:v>0.70499999999999996</c:v>
                </c:pt>
                <c:pt idx="113">
                  <c:v>0.71599999999999997</c:v>
                </c:pt>
                <c:pt idx="114">
                  <c:v>0.754</c:v>
                </c:pt>
                <c:pt idx="115">
                  <c:v>0.70399999999999996</c:v>
                </c:pt>
                <c:pt idx="116">
                  <c:v>0.70599999999999996</c:v>
                </c:pt>
                <c:pt idx="117">
                  <c:v>0.7</c:v>
                </c:pt>
                <c:pt idx="118">
                  <c:v>0.77100000000000002</c:v>
                </c:pt>
                <c:pt idx="119">
                  <c:v>0.77300000000000002</c:v>
                </c:pt>
                <c:pt idx="120">
                  <c:v>0.76600000000000001</c:v>
                </c:pt>
                <c:pt idx="121">
                  <c:v>0.77600000000000002</c:v>
                </c:pt>
                <c:pt idx="122">
                  <c:v>0.745</c:v>
                </c:pt>
                <c:pt idx="123">
                  <c:v>0.81299999999999994</c:v>
                </c:pt>
                <c:pt idx="124">
                  <c:v>0.83</c:v>
                </c:pt>
                <c:pt idx="125">
                  <c:v>0.84</c:v>
                </c:pt>
                <c:pt idx="126">
                  <c:v>0.85699999999999998</c:v>
                </c:pt>
                <c:pt idx="127">
                  <c:v>0.86599999999999999</c:v>
                </c:pt>
                <c:pt idx="128">
                  <c:v>0.94499999999999995</c:v>
                </c:pt>
                <c:pt idx="129">
                  <c:v>0.99199999999999999</c:v>
                </c:pt>
                <c:pt idx="130">
                  <c:v>0.95299999999999996</c:v>
                </c:pt>
                <c:pt idx="131">
                  <c:v>1</c:v>
                </c:pt>
                <c:pt idx="132">
                  <c:v>1</c:v>
                </c:pt>
                <c:pt idx="133">
                  <c:v>1</c:v>
                </c:pt>
                <c:pt idx="134">
                  <c:v>0.99199999999999999</c:v>
                </c:pt>
                <c:pt idx="135">
                  <c:v>0.97</c:v>
                </c:pt>
                <c:pt idx="136">
                  <c:v>0.91900000000000004</c:v>
                </c:pt>
                <c:pt idx="137">
                  <c:v>0.97</c:v>
                </c:pt>
                <c:pt idx="138">
                  <c:v>0.876</c:v>
                </c:pt>
                <c:pt idx="139">
                  <c:v>0.79100000000000004</c:v>
                </c:pt>
                <c:pt idx="140">
                  <c:v>0.79200000000000004</c:v>
                </c:pt>
                <c:pt idx="141">
                  <c:v>0.80100000000000005</c:v>
                </c:pt>
                <c:pt idx="142">
                  <c:v>0.76700000000000002</c:v>
                </c:pt>
                <c:pt idx="143">
                  <c:v>0.72</c:v>
                </c:pt>
                <c:pt idx="144">
                  <c:v>0.63100000000000001</c:v>
                </c:pt>
                <c:pt idx="145">
                  <c:v>0.66800000000000004</c:v>
                </c:pt>
                <c:pt idx="146">
                  <c:v>0.65700000000000003</c:v>
                </c:pt>
                <c:pt idx="147">
                  <c:v>0.66600000000000004</c:v>
                </c:pt>
                <c:pt idx="148">
                  <c:v>0.69499999999999995</c:v>
                </c:pt>
                <c:pt idx="149">
                  <c:v>0.72399999999999998</c:v>
                </c:pt>
                <c:pt idx="150">
                  <c:v>0.76</c:v>
                </c:pt>
                <c:pt idx="151">
                  <c:v>0.74099999999999999</c:v>
                </c:pt>
                <c:pt idx="152">
                  <c:v>0.78200000000000003</c:v>
                </c:pt>
                <c:pt idx="153">
                  <c:v>0.73199999999999998</c:v>
                </c:pt>
                <c:pt idx="154">
                  <c:v>0.70699999999999996</c:v>
                </c:pt>
                <c:pt idx="155">
                  <c:v>0.72199999999999998</c:v>
                </c:pt>
                <c:pt idx="156">
                  <c:v>0.71699999999999997</c:v>
                </c:pt>
                <c:pt idx="157">
                  <c:v>0.72599999999999998</c:v>
                </c:pt>
                <c:pt idx="158">
                  <c:v>0.74</c:v>
                </c:pt>
                <c:pt idx="159">
                  <c:v>0.76100000000000001</c:v>
                </c:pt>
                <c:pt idx="160">
                  <c:v>0.75600000000000001</c:v>
                </c:pt>
                <c:pt idx="161">
                  <c:v>0.78200000000000003</c:v>
                </c:pt>
                <c:pt idx="162">
                  <c:v>0.85099999999999998</c:v>
                </c:pt>
                <c:pt idx="163">
                  <c:v>0.86499999999999999</c:v>
                </c:pt>
                <c:pt idx="164">
                  <c:v>0.92600000000000005</c:v>
                </c:pt>
                <c:pt idx="165">
                  <c:v>0.95099999999999996</c:v>
                </c:pt>
                <c:pt idx="166">
                  <c:v>0.95099999999999996</c:v>
                </c:pt>
                <c:pt idx="167">
                  <c:v>0.98199999999999998</c:v>
                </c:pt>
                <c:pt idx="168">
                  <c:v>0.98799999999999999</c:v>
                </c:pt>
                <c:pt idx="169">
                  <c:v>0.98199999999999998</c:v>
                </c:pt>
                <c:pt idx="170">
                  <c:v>0.95799999999999996</c:v>
                </c:pt>
                <c:pt idx="171">
                  <c:v>0.96399999999999997</c:v>
                </c:pt>
                <c:pt idx="172">
                  <c:v>0.93600000000000005</c:v>
                </c:pt>
                <c:pt idx="173">
                  <c:v>0.95299999999999996</c:v>
                </c:pt>
                <c:pt idx="174">
                  <c:v>0.97699999999999998</c:v>
                </c:pt>
                <c:pt idx="175">
                  <c:v>1</c:v>
                </c:pt>
                <c:pt idx="176">
                  <c:v>0.99399999999999999</c:v>
                </c:pt>
                <c:pt idx="177">
                  <c:v>0.98799999999999999</c:v>
                </c:pt>
                <c:pt idx="178">
                  <c:v>1</c:v>
                </c:pt>
                <c:pt idx="179">
                  <c:v>0.98299999999999998</c:v>
                </c:pt>
                <c:pt idx="180">
                  <c:v>0.98799999999999999</c:v>
                </c:pt>
                <c:pt idx="181">
                  <c:v>0.98799999999999999</c:v>
                </c:pt>
                <c:pt idx="182">
                  <c:v>0.99399999999999999</c:v>
                </c:pt>
                <c:pt idx="183">
                  <c:v>0.97799999999999998</c:v>
                </c:pt>
                <c:pt idx="184">
                  <c:v>0.99399999999999999</c:v>
                </c:pt>
                <c:pt idx="185">
                  <c:v>0.98899999999999999</c:v>
                </c:pt>
                <c:pt idx="186">
                  <c:v>0.98299999999999998</c:v>
                </c:pt>
                <c:pt idx="187">
                  <c:v>0.95099999999999996</c:v>
                </c:pt>
                <c:pt idx="188">
                  <c:v>0.91400000000000003</c:v>
                </c:pt>
                <c:pt idx="189">
                  <c:v>0.85099999999999998</c:v>
                </c:pt>
                <c:pt idx="190">
                  <c:v>0.83099999999999996</c:v>
                </c:pt>
                <c:pt idx="191">
                  <c:v>0.86299999999999999</c:v>
                </c:pt>
                <c:pt idx="192">
                  <c:v>0.84299999999999997</c:v>
                </c:pt>
                <c:pt idx="193">
                  <c:v>0.82899999999999996</c:v>
                </c:pt>
                <c:pt idx="194">
                  <c:v>0.80900000000000005</c:v>
                </c:pt>
                <c:pt idx="195">
                  <c:v>0.85599999999999998</c:v>
                </c:pt>
                <c:pt idx="196">
                  <c:v>0.877</c:v>
                </c:pt>
                <c:pt idx="197">
                  <c:v>0.89800000000000002</c:v>
                </c:pt>
                <c:pt idx="198">
                  <c:v>0.86799999999999999</c:v>
                </c:pt>
                <c:pt idx="199">
                  <c:v>0.89400000000000002</c:v>
                </c:pt>
                <c:pt idx="200">
                  <c:v>0.9</c:v>
                </c:pt>
                <c:pt idx="201">
                  <c:v>0.9</c:v>
                </c:pt>
                <c:pt idx="202">
                  <c:v>0.88600000000000001</c:v>
                </c:pt>
                <c:pt idx="203">
                  <c:v>0.89100000000000001</c:v>
                </c:pt>
                <c:pt idx="204">
                  <c:v>0.88200000000000001</c:v>
                </c:pt>
                <c:pt idx="205">
                  <c:v>0.86799999999999999</c:v>
                </c:pt>
                <c:pt idx="206">
                  <c:v>0.90700000000000003</c:v>
                </c:pt>
                <c:pt idx="207">
                  <c:v>0.92700000000000005</c:v>
                </c:pt>
                <c:pt idx="208">
                  <c:v>0.91800000000000004</c:v>
                </c:pt>
                <c:pt idx="209">
                  <c:v>0.92800000000000005</c:v>
                </c:pt>
                <c:pt idx="210">
                  <c:v>0.91400000000000003</c:v>
                </c:pt>
                <c:pt idx="211">
                  <c:v>0.92800000000000005</c:v>
                </c:pt>
                <c:pt idx="212">
                  <c:v>0.872</c:v>
                </c:pt>
                <c:pt idx="213">
                  <c:v>0.877</c:v>
                </c:pt>
                <c:pt idx="214">
                  <c:v>0.878</c:v>
                </c:pt>
                <c:pt idx="215">
                  <c:v>0.92</c:v>
                </c:pt>
                <c:pt idx="216">
                  <c:v>0.92500000000000004</c:v>
                </c:pt>
                <c:pt idx="217">
                  <c:v>0.92100000000000004</c:v>
                </c:pt>
                <c:pt idx="218">
                  <c:v>0.93500000000000005</c:v>
                </c:pt>
                <c:pt idx="219">
                  <c:v>0.94499999999999995</c:v>
                </c:pt>
                <c:pt idx="220">
                  <c:v>0.95899999999999996</c:v>
                </c:pt>
                <c:pt idx="221">
                  <c:v>0.95899999999999996</c:v>
                </c:pt>
                <c:pt idx="222">
                  <c:v>0.92700000000000005</c:v>
                </c:pt>
                <c:pt idx="223">
                  <c:v>0.93200000000000005</c:v>
                </c:pt>
                <c:pt idx="224">
                  <c:v>0.91</c:v>
                </c:pt>
                <c:pt idx="225">
                  <c:v>0.81699999999999995</c:v>
                </c:pt>
                <c:pt idx="226">
                  <c:v>0.747</c:v>
                </c:pt>
                <c:pt idx="227">
                  <c:v>0.74</c:v>
                </c:pt>
                <c:pt idx="228">
                  <c:v>0.68400000000000005</c:v>
                </c:pt>
                <c:pt idx="229">
                  <c:v>0.66800000000000004</c:v>
                </c:pt>
                <c:pt idx="230">
                  <c:v>0.66</c:v>
                </c:pt>
                <c:pt idx="231">
                  <c:v>0.67900000000000005</c:v>
                </c:pt>
                <c:pt idx="232">
                  <c:v>0.62</c:v>
                </c:pt>
                <c:pt idx="233">
                  <c:v>0.58299999999999996</c:v>
                </c:pt>
                <c:pt idx="234">
                  <c:v>0.59799999999999998</c:v>
                </c:pt>
                <c:pt idx="235">
                  <c:v>0.625</c:v>
                </c:pt>
                <c:pt idx="236">
                  <c:v>0.69</c:v>
                </c:pt>
                <c:pt idx="237">
                  <c:v>0.70399999999999996</c:v>
                </c:pt>
                <c:pt idx="238">
                  <c:v>0.71</c:v>
                </c:pt>
                <c:pt idx="239">
                  <c:v>0.75700000000000001</c:v>
                </c:pt>
                <c:pt idx="240">
                  <c:v>0.85399999999999998</c:v>
                </c:pt>
                <c:pt idx="241">
                  <c:v>0.871</c:v>
                </c:pt>
                <c:pt idx="242">
                  <c:v>0.86699999999999999</c:v>
                </c:pt>
                <c:pt idx="243">
                  <c:v>0.93799999999999994</c:v>
                </c:pt>
                <c:pt idx="244">
                  <c:v>0.92200000000000004</c:v>
                </c:pt>
                <c:pt idx="245">
                  <c:v>0.96299999999999997</c:v>
                </c:pt>
                <c:pt idx="246">
                  <c:v>0.96699999999999997</c:v>
                </c:pt>
                <c:pt idx="247">
                  <c:v>1</c:v>
                </c:pt>
                <c:pt idx="248">
                  <c:v>1</c:v>
                </c:pt>
                <c:pt idx="249">
                  <c:v>0.995</c:v>
                </c:pt>
                <c:pt idx="250">
                  <c:v>0.876</c:v>
                </c:pt>
                <c:pt idx="251">
                  <c:v>0.93200000000000005</c:v>
                </c:pt>
                <c:pt idx="252">
                  <c:v>0.94399999999999995</c:v>
                </c:pt>
                <c:pt idx="253">
                  <c:v>0.91300000000000003</c:v>
                </c:pt>
                <c:pt idx="254">
                  <c:v>0.86199999999999999</c:v>
                </c:pt>
                <c:pt idx="255">
                  <c:v>0.89800000000000002</c:v>
                </c:pt>
                <c:pt idx="256">
                  <c:v>0.83199999999999996</c:v>
                </c:pt>
                <c:pt idx="257">
                  <c:v>0.80900000000000005</c:v>
                </c:pt>
                <c:pt idx="258">
                  <c:v>0.81699999999999995</c:v>
                </c:pt>
                <c:pt idx="259">
                  <c:v>0.88400000000000001</c:v>
                </c:pt>
                <c:pt idx="260">
                  <c:v>0.92300000000000004</c:v>
                </c:pt>
                <c:pt idx="261">
                  <c:v>0.97699999999999998</c:v>
                </c:pt>
                <c:pt idx="262">
                  <c:v>0.96099999999999997</c:v>
                </c:pt>
                <c:pt idx="263">
                  <c:v>0.91600000000000004</c:v>
                </c:pt>
                <c:pt idx="264">
                  <c:v>0.80300000000000005</c:v>
                </c:pt>
                <c:pt idx="265">
                  <c:v>0.76600000000000001</c:v>
                </c:pt>
                <c:pt idx="266">
                  <c:v>0.73599999999999999</c:v>
                </c:pt>
                <c:pt idx="267">
                  <c:v>0.71499999999999997</c:v>
                </c:pt>
                <c:pt idx="268">
                  <c:v>0.72</c:v>
                </c:pt>
                <c:pt idx="269">
                  <c:v>0.70199999999999996</c:v>
                </c:pt>
                <c:pt idx="270">
                  <c:v>0.7</c:v>
                </c:pt>
                <c:pt idx="271">
                  <c:v>0.69699999999999995</c:v>
                </c:pt>
                <c:pt idx="272">
                  <c:v>0.67200000000000004</c:v>
                </c:pt>
                <c:pt idx="273">
                  <c:v>0.65900000000000003</c:v>
                </c:pt>
                <c:pt idx="274">
                  <c:v>0.68600000000000005</c:v>
                </c:pt>
                <c:pt idx="275">
                  <c:v>0.68700000000000006</c:v>
                </c:pt>
                <c:pt idx="276">
                  <c:v>0.65500000000000003</c:v>
                </c:pt>
                <c:pt idx="277">
                  <c:v>0.72199999999999998</c:v>
                </c:pt>
                <c:pt idx="278">
                  <c:v>0.70099999999999996</c:v>
                </c:pt>
                <c:pt idx="279">
                  <c:v>0.70599999999999996</c:v>
                </c:pt>
                <c:pt idx="280">
                  <c:v>0.67800000000000005</c:v>
                </c:pt>
                <c:pt idx="281">
                  <c:v>0.60399999999999998</c:v>
                </c:pt>
                <c:pt idx="282">
                  <c:v>0.58799999999999997</c:v>
                </c:pt>
                <c:pt idx="283">
                  <c:v>0.57499999999999996</c:v>
                </c:pt>
                <c:pt idx="284">
                  <c:v>0.56599999999999995</c:v>
                </c:pt>
                <c:pt idx="285">
                  <c:v>0.59599999999999997</c:v>
                </c:pt>
                <c:pt idx="286">
                  <c:v>0.58699999999999997</c:v>
                </c:pt>
                <c:pt idx="287">
                  <c:v>0.623</c:v>
                </c:pt>
                <c:pt idx="288">
                  <c:v>0.57899999999999996</c:v>
                </c:pt>
                <c:pt idx="289">
                  <c:v>0.57699999999999996</c:v>
                </c:pt>
                <c:pt idx="290">
                  <c:v>0.55500000000000005</c:v>
                </c:pt>
                <c:pt idx="291">
                  <c:v>0.57999999999999996</c:v>
                </c:pt>
                <c:pt idx="292">
                  <c:v>0.54700000000000004</c:v>
                </c:pt>
                <c:pt idx="293">
                  <c:v>0.55200000000000005</c:v>
                </c:pt>
                <c:pt idx="294">
                  <c:v>0.51</c:v>
                </c:pt>
                <c:pt idx="295">
                  <c:v>0.4809999999999999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C3D4-4008-98E4-DF2CEAE4EF07}"/>
            </c:ext>
          </c:extLst>
        </c:ser>
        <c:ser>
          <c:idx val="4"/>
          <c:order val="5"/>
          <c:tx>
            <c:strRef>
              <c:f>股票择时信号!$AF$7</c:f>
              <c:strCache>
                <c:ptCount val="1"/>
                <c:pt idx="0">
                  <c:v>CPI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6</c:f>
              <c:numCache>
                <c:formatCode>yyyy\-mm\-dd</c:formatCode>
                <c:ptCount val="296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  <c:pt idx="295">
                  <c:v>45998</c:v>
                </c:pt>
              </c:numCache>
            </c:numRef>
          </c:cat>
          <c:val>
            <c:numRef>
              <c:f>股票择时信号!$AF$11:$AF$306</c:f>
              <c:numCache>
                <c:formatCode>0.0%</c:formatCode>
                <c:ptCount val="296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.307</c:v>
                </c:pt>
                <c:pt idx="14">
                  <c:v>0.28499999999999998</c:v>
                </c:pt>
                <c:pt idx="15">
                  <c:v>0.26600000000000001</c:v>
                </c:pt>
                <c:pt idx="16">
                  <c:v>0.25</c:v>
                </c:pt>
                <c:pt idx="17">
                  <c:v>0.23499999999999999</c:v>
                </c:pt>
                <c:pt idx="18">
                  <c:v>0.5</c:v>
                </c:pt>
                <c:pt idx="19">
                  <c:v>0.47299999999999998</c:v>
                </c:pt>
                <c:pt idx="20">
                  <c:v>0.45</c:v>
                </c:pt>
                <c:pt idx="21">
                  <c:v>0.42799999999999999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.125</c:v>
                </c:pt>
                <c:pt idx="41">
                  <c:v>0.121</c:v>
                </c:pt>
                <c:pt idx="42">
                  <c:v>0.11899999999999999</c:v>
                </c:pt>
                <c:pt idx="43">
                  <c:v>0.11600000000000001</c:v>
                </c:pt>
                <c:pt idx="44">
                  <c:v>0.113</c:v>
                </c:pt>
                <c:pt idx="45">
                  <c:v>0.111</c:v>
                </c:pt>
                <c:pt idx="46">
                  <c:v>0.108</c:v>
                </c:pt>
                <c:pt idx="47">
                  <c:v>0.106</c:v>
                </c:pt>
                <c:pt idx="48">
                  <c:v>0.187</c:v>
                </c:pt>
                <c:pt idx="49">
                  <c:v>0.183</c:v>
                </c:pt>
                <c:pt idx="50">
                  <c:v>0.18</c:v>
                </c:pt>
                <c:pt idx="51">
                  <c:v>0.17599999999999999</c:v>
                </c:pt>
                <c:pt idx="52">
                  <c:v>0.32600000000000001</c:v>
                </c:pt>
                <c:pt idx="53">
                  <c:v>0.32</c:v>
                </c:pt>
                <c:pt idx="54">
                  <c:v>0.314</c:v>
                </c:pt>
                <c:pt idx="55">
                  <c:v>0.309</c:v>
                </c:pt>
                <c:pt idx="56">
                  <c:v>0.30299999999999999</c:v>
                </c:pt>
                <c:pt idx="57">
                  <c:v>0.45600000000000002</c:v>
                </c:pt>
                <c:pt idx="58">
                  <c:v>0.44800000000000001</c:v>
                </c:pt>
                <c:pt idx="59">
                  <c:v>0.44</c:v>
                </c:pt>
                <c:pt idx="60">
                  <c:v>0.433</c:v>
                </c:pt>
                <c:pt idx="61">
                  <c:v>0.49099999999999999</c:v>
                </c:pt>
                <c:pt idx="62">
                  <c:v>0.48299999999999998</c:v>
                </c:pt>
                <c:pt idx="63">
                  <c:v>0.47599999999999998</c:v>
                </c:pt>
                <c:pt idx="64">
                  <c:v>0.46800000000000003</c:v>
                </c:pt>
                <c:pt idx="65">
                  <c:v>0.46100000000000002</c:v>
                </c:pt>
                <c:pt idx="66">
                  <c:v>0.45400000000000001</c:v>
                </c:pt>
                <c:pt idx="67">
                  <c:v>0.44700000000000001</c:v>
                </c:pt>
                <c:pt idx="68">
                  <c:v>0.441</c:v>
                </c:pt>
                <c:pt idx="69">
                  <c:v>0.434</c:v>
                </c:pt>
                <c:pt idx="70">
                  <c:v>0.42799999999999999</c:v>
                </c:pt>
                <c:pt idx="71">
                  <c:v>0.42199999999999999</c:v>
                </c:pt>
                <c:pt idx="72">
                  <c:v>0.41599999999999998</c:v>
                </c:pt>
                <c:pt idx="73">
                  <c:v>0.41</c:v>
                </c:pt>
                <c:pt idx="74">
                  <c:v>0.35099999999999998</c:v>
                </c:pt>
                <c:pt idx="75">
                  <c:v>0.34599999999999997</c:v>
                </c:pt>
                <c:pt idx="76">
                  <c:v>0.34200000000000003</c:v>
                </c:pt>
                <c:pt idx="77">
                  <c:v>0.33700000000000002</c:v>
                </c:pt>
                <c:pt idx="78">
                  <c:v>0.33300000000000002</c:v>
                </c:pt>
                <c:pt idx="79">
                  <c:v>0.32900000000000001</c:v>
                </c:pt>
                <c:pt idx="80">
                  <c:v>0.32500000000000001</c:v>
                </c:pt>
                <c:pt idx="81">
                  <c:v>0.32</c:v>
                </c:pt>
                <c:pt idx="82">
                  <c:v>0.317</c:v>
                </c:pt>
                <c:pt idx="83">
                  <c:v>0.626</c:v>
                </c:pt>
                <c:pt idx="84">
                  <c:v>0.61899999999999999</c:v>
                </c:pt>
                <c:pt idx="85">
                  <c:v>0.61099999999999999</c:v>
                </c:pt>
                <c:pt idx="86">
                  <c:v>0.60399999999999998</c:v>
                </c:pt>
                <c:pt idx="87">
                  <c:v>0.68899999999999995</c:v>
                </c:pt>
                <c:pt idx="88">
                  <c:v>0.68100000000000005</c:v>
                </c:pt>
                <c:pt idx="89">
                  <c:v>0.67400000000000004</c:v>
                </c:pt>
                <c:pt idx="90">
                  <c:v>0.66600000000000004</c:v>
                </c:pt>
                <c:pt idx="91">
                  <c:v>0.65900000000000003</c:v>
                </c:pt>
                <c:pt idx="92">
                  <c:v>0.56499999999999995</c:v>
                </c:pt>
                <c:pt idx="93">
                  <c:v>0.55900000000000005</c:v>
                </c:pt>
                <c:pt idx="94">
                  <c:v>0.55300000000000005</c:v>
                </c:pt>
                <c:pt idx="95">
                  <c:v>0.54700000000000004</c:v>
                </c:pt>
                <c:pt idx="96">
                  <c:v>0.54100000000000004</c:v>
                </c:pt>
                <c:pt idx="97">
                  <c:v>0.36</c:v>
                </c:pt>
                <c:pt idx="98">
                  <c:v>0.35699999999999998</c:v>
                </c:pt>
                <c:pt idx="99">
                  <c:v>0.35299999999999998</c:v>
                </c:pt>
                <c:pt idx="100">
                  <c:v>0.35</c:v>
                </c:pt>
                <c:pt idx="101">
                  <c:v>0.34599999999999997</c:v>
                </c:pt>
                <c:pt idx="102">
                  <c:v>0.34300000000000003</c:v>
                </c:pt>
                <c:pt idx="103">
                  <c:v>0.33900000000000002</c:v>
                </c:pt>
                <c:pt idx="104">
                  <c:v>0.33600000000000002</c:v>
                </c:pt>
                <c:pt idx="105">
                  <c:v>0.57099999999999995</c:v>
                </c:pt>
                <c:pt idx="106">
                  <c:v>0.56599999999999995</c:v>
                </c:pt>
                <c:pt idx="107">
                  <c:v>0.56000000000000005</c:v>
                </c:pt>
                <c:pt idx="108">
                  <c:v>0.55500000000000005</c:v>
                </c:pt>
                <c:pt idx="109">
                  <c:v>0.70599999999999996</c:v>
                </c:pt>
                <c:pt idx="110">
                  <c:v>0.7</c:v>
                </c:pt>
                <c:pt idx="111">
                  <c:v>0.69299999999999995</c:v>
                </c:pt>
                <c:pt idx="112">
                  <c:v>0.68700000000000006</c:v>
                </c:pt>
                <c:pt idx="113">
                  <c:v>0.68100000000000005</c:v>
                </c:pt>
                <c:pt idx="114">
                  <c:v>0.67500000000000004</c:v>
                </c:pt>
                <c:pt idx="115">
                  <c:v>0.66900000000000004</c:v>
                </c:pt>
                <c:pt idx="116">
                  <c:v>0.66300000000000003</c:v>
                </c:pt>
                <c:pt idx="117">
                  <c:v>0.84599999999999997</c:v>
                </c:pt>
                <c:pt idx="118">
                  <c:v>0.83799999999999997</c:v>
                </c:pt>
                <c:pt idx="119">
                  <c:v>0.83099999999999996</c:v>
                </c:pt>
                <c:pt idx="120">
                  <c:v>0.82499999999999996</c:v>
                </c:pt>
                <c:pt idx="121">
                  <c:v>0.81799999999999995</c:v>
                </c:pt>
                <c:pt idx="122">
                  <c:v>0.89300000000000002</c:v>
                </c:pt>
                <c:pt idx="123">
                  <c:v>0.88600000000000001</c:v>
                </c:pt>
                <c:pt idx="124">
                  <c:v>0.879</c:v>
                </c:pt>
                <c:pt idx="125">
                  <c:v>0.872</c:v>
                </c:pt>
                <c:pt idx="126">
                  <c:v>0.78500000000000003</c:v>
                </c:pt>
                <c:pt idx="127">
                  <c:v>0.77900000000000003</c:v>
                </c:pt>
                <c:pt idx="128">
                  <c:v>0.77300000000000002</c:v>
                </c:pt>
                <c:pt idx="129">
                  <c:v>0.76700000000000002</c:v>
                </c:pt>
                <c:pt idx="130">
                  <c:v>0.76100000000000001</c:v>
                </c:pt>
                <c:pt idx="131">
                  <c:v>0.93100000000000005</c:v>
                </c:pt>
                <c:pt idx="132">
                  <c:v>0.92400000000000004</c:v>
                </c:pt>
                <c:pt idx="133">
                  <c:v>0.91700000000000004</c:v>
                </c:pt>
                <c:pt idx="134">
                  <c:v>0.91</c:v>
                </c:pt>
                <c:pt idx="135">
                  <c:v>0.56999999999999995</c:v>
                </c:pt>
                <c:pt idx="136">
                  <c:v>0.56599999999999995</c:v>
                </c:pt>
                <c:pt idx="137">
                  <c:v>0.56200000000000006</c:v>
                </c:pt>
                <c:pt idx="138">
                  <c:v>0.55700000000000005</c:v>
                </c:pt>
                <c:pt idx="139">
                  <c:v>0.52500000000000002</c:v>
                </c:pt>
                <c:pt idx="140">
                  <c:v>0.52100000000000002</c:v>
                </c:pt>
                <c:pt idx="141">
                  <c:v>0.51700000000000002</c:v>
                </c:pt>
                <c:pt idx="142">
                  <c:v>0.51400000000000001</c:v>
                </c:pt>
                <c:pt idx="143">
                  <c:v>0.51</c:v>
                </c:pt>
                <c:pt idx="144">
                  <c:v>0.56899999999999995</c:v>
                </c:pt>
                <c:pt idx="145">
                  <c:v>0.56499999999999995</c:v>
                </c:pt>
                <c:pt idx="146">
                  <c:v>0.56100000000000005</c:v>
                </c:pt>
                <c:pt idx="147">
                  <c:v>0.55700000000000005</c:v>
                </c:pt>
                <c:pt idx="148">
                  <c:v>0.58099999999999996</c:v>
                </c:pt>
                <c:pt idx="149">
                  <c:v>0.57699999999999996</c:v>
                </c:pt>
                <c:pt idx="150">
                  <c:v>0.57299999999999995</c:v>
                </c:pt>
                <c:pt idx="151">
                  <c:v>0.56899999999999995</c:v>
                </c:pt>
                <c:pt idx="152">
                  <c:v>0.309</c:v>
                </c:pt>
                <c:pt idx="153">
                  <c:v>0.307</c:v>
                </c:pt>
                <c:pt idx="154">
                  <c:v>0.30499999999999999</c:v>
                </c:pt>
                <c:pt idx="155">
                  <c:v>0.30299999999999999</c:v>
                </c:pt>
                <c:pt idx="156">
                  <c:v>0.30099999999999999</c:v>
                </c:pt>
                <c:pt idx="157">
                  <c:v>0.16500000000000001</c:v>
                </c:pt>
                <c:pt idx="158">
                  <c:v>0.16400000000000001</c:v>
                </c:pt>
                <c:pt idx="159">
                  <c:v>0.16300000000000001</c:v>
                </c:pt>
                <c:pt idx="160">
                  <c:v>0.16200000000000001</c:v>
                </c:pt>
                <c:pt idx="161">
                  <c:v>0.08</c:v>
                </c:pt>
                <c:pt idx="162">
                  <c:v>0.08</c:v>
                </c:pt>
                <c:pt idx="163">
                  <c:v>7.9000000000000001E-2</c:v>
                </c:pt>
                <c:pt idx="164">
                  <c:v>7.9000000000000001E-2</c:v>
                </c:pt>
                <c:pt idx="165">
                  <c:v>0.10299999999999999</c:v>
                </c:pt>
                <c:pt idx="166">
                  <c:v>0.10199999999999999</c:v>
                </c:pt>
                <c:pt idx="167">
                  <c:v>0.10100000000000001</c:v>
                </c:pt>
                <c:pt idx="168">
                  <c:v>0.10100000000000001</c:v>
                </c:pt>
                <c:pt idx="169">
                  <c:v>0.1</c:v>
                </c:pt>
                <c:pt idx="170">
                  <c:v>7.5999999999999998E-2</c:v>
                </c:pt>
                <c:pt idx="171">
                  <c:v>7.5999999999999998E-2</c:v>
                </c:pt>
                <c:pt idx="172">
                  <c:v>7.4999999999999997E-2</c:v>
                </c:pt>
                <c:pt idx="173">
                  <c:v>7.4999999999999997E-2</c:v>
                </c:pt>
                <c:pt idx="174">
                  <c:v>2.8000000000000001E-2</c:v>
                </c:pt>
                <c:pt idx="175">
                  <c:v>2.8000000000000001E-2</c:v>
                </c:pt>
                <c:pt idx="176">
                  <c:v>2.8000000000000001E-2</c:v>
                </c:pt>
                <c:pt idx="177">
                  <c:v>2.8000000000000001E-2</c:v>
                </c:pt>
                <c:pt idx="178">
                  <c:v>0.11700000000000001</c:v>
                </c:pt>
                <c:pt idx="179">
                  <c:v>0.11700000000000001</c:v>
                </c:pt>
                <c:pt idx="180">
                  <c:v>0.11600000000000001</c:v>
                </c:pt>
                <c:pt idx="181">
                  <c:v>0.11600000000000001</c:v>
                </c:pt>
                <c:pt idx="182">
                  <c:v>0.115</c:v>
                </c:pt>
                <c:pt idx="183">
                  <c:v>9.1999999999999998E-2</c:v>
                </c:pt>
                <c:pt idx="184">
                  <c:v>9.1999999999999998E-2</c:v>
                </c:pt>
                <c:pt idx="185">
                  <c:v>9.0999999999999998E-2</c:v>
                </c:pt>
                <c:pt idx="186">
                  <c:v>9.0999999999999998E-2</c:v>
                </c:pt>
                <c:pt idx="187">
                  <c:v>6.9000000000000006E-2</c:v>
                </c:pt>
                <c:pt idx="188">
                  <c:v>6.9000000000000006E-2</c:v>
                </c:pt>
                <c:pt idx="189">
                  <c:v>6.8000000000000005E-2</c:v>
                </c:pt>
                <c:pt idx="190">
                  <c:v>6.8000000000000005E-2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5.0999999999999997E-2</c:v>
                </c:pt>
                <c:pt idx="197">
                  <c:v>0.05</c:v>
                </c:pt>
                <c:pt idx="198">
                  <c:v>0.05</c:v>
                </c:pt>
                <c:pt idx="199">
                  <c:v>0.05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.33800000000000002</c:v>
                </c:pt>
                <c:pt idx="205">
                  <c:v>0.33600000000000002</c:v>
                </c:pt>
                <c:pt idx="206">
                  <c:v>0.33400000000000002</c:v>
                </c:pt>
                <c:pt idx="207">
                  <c:v>0.33300000000000002</c:v>
                </c:pt>
                <c:pt idx="208">
                  <c:v>0.33100000000000002</c:v>
                </c:pt>
                <c:pt idx="209">
                  <c:v>0.2</c:v>
                </c:pt>
                <c:pt idx="210">
                  <c:v>0.2</c:v>
                </c:pt>
                <c:pt idx="211">
                  <c:v>0.19900000000000001</c:v>
                </c:pt>
                <c:pt idx="212">
                  <c:v>0.19800000000000001</c:v>
                </c:pt>
                <c:pt idx="213">
                  <c:v>0.3</c:v>
                </c:pt>
                <c:pt idx="214">
                  <c:v>0.29899999999999999</c:v>
                </c:pt>
                <c:pt idx="215">
                  <c:v>0.29699999999999999</c:v>
                </c:pt>
                <c:pt idx="216">
                  <c:v>0.29599999999999999</c:v>
                </c:pt>
                <c:pt idx="217">
                  <c:v>0.29399999999999998</c:v>
                </c:pt>
                <c:pt idx="218">
                  <c:v>0.29299999999999998</c:v>
                </c:pt>
                <c:pt idx="219">
                  <c:v>0.29199999999999998</c:v>
                </c:pt>
                <c:pt idx="220">
                  <c:v>0.28999999999999998</c:v>
                </c:pt>
                <c:pt idx="221">
                  <c:v>0.28899999999999998</c:v>
                </c:pt>
                <c:pt idx="222">
                  <c:v>0.247</c:v>
                </c:pt>
                <c:pt idx="223">
                  <c:v>0.246</c:v>
                </c:pt>
                <c:pt idx="224">
                  <c:v>0.245</c:v>
                </c:pt>
                <c:pt idx="225">
                  <c:v>0.24399999999999999</c:v>
                </c:pt>
                <c:pt idx="226">
                  <c:v>0.36199999999999999</c:v>
                </c:pt>
                <c:pt idx="227">
                  <c:v>0.36099999999999999</c:v>
                </c:pt>
                <c:pt idx="228">
                  <c:v>0.35899999999999999</c:v>
                </c:pt>
                <c:pt idx="229">
                  <c:v>0.35799999999999998</c:v>
                </c:pt>
                <c:pt idx="230">
                  <c:v>0.35599999999999998</c:v>
                </c:pt>
                <c:pt idx="231">
                  <c:v>0.39300000000000002</c:v>
                </c:pt>
                <c:pt idx="232">
                  <c:v>0.39200000000000002</c:v>
                </c:pt>
                <c:pt idx="233">
                  <c:v>0.39</c:v>
                </c:pt>
                <c:pt idx="234">
                  <c:v>0.38800000000000001</c:v>
                </c:pt>
                <c:pt idx="235">
                  <c:v>0.32700000000000001</c:v>
                </c:pt>
                <c:pt idx="236">
                  <c:v>0.32600000000000001</c:v>
                </c:pt>
                <c:pt idx="237">
                  <c:v>0.32400000000000001</c:v>
                </c:pt>
                <c:pt idx="238">
                  <c:v>0.32300000000000001</c:v>
                </c:pt>
                <c:pt idx="239">
                  <c:v>0.28399999999999997</c:v>
                </c:pt>
                <c:pt idx="240">
                  <c:v>0.28299999999999997</c:v>
                </c:pt>
                <c:pt idx="241">
                  <c:v>0.28199999999999997</c:v>
                </c:pt>
                <c:pt idx="242">
                  <c:v>0.28000000000000003</c:v>
                </c:pt>
                <c:pt idx="243">
                  <c:v>0.27900000000000003</c:v>
                </c:pt>
                <c:pt idx="244">
                  <c:v>0.22500000000000001</c:v>
                </c:pt>
                <c:pt idx="245">
                  <c:v>0.224</c:v>
                </c:pt>
                <c:pt idx="246">
                  <c:v>0.223</c:v>
                </c:pt>
                <c:pt idx="247">
                  <c:v>0.222</c:v>
                </c:pt>
                <c:pt idx="248">
                  <c:v>0.16900000000000001</c:v>
                </c:pt>
                <c:pt idx="249">
                  <c:v>0.16800000000000001</c:v>
                </c:pt>
                <c:pt idx="250">
                  <c:v>0.16800000000000001</c:v>
                </c:pt>
                <c:pt idx="251">
                  <c:v>0.16700000000000001</c:v>
                </c:pt>
                <c:pt idx="252">
                  <c:v>0.39200000000000002</c:v>
                </c:pt>
                <c:pt idx="253">
                  <c:v>0.39100000000000001</c:v>
                </c:pt>
                <c:pt idx="254">
                  <c:v>0.38900000000000001</c:v>
                </c:pt>
                <c:pt idx="255">
                  <c:v>0.38800000000000001</c:v>
                </c:pt>
                <c:pt idx="256">
                  <c:v>1.4999999999999999E-2</c:v>
                </c:pt>
                <c:pt idx="257">
                  <c:v>1.4999999999999999E-2</c:v>
                </c:pt>
                <c:pt idx="258">
                  <c:v>1.4999999999999999E-2</c:v>
                </c:pt>
                <c:pt idx="259">
                  <c:v>1.4999999999999999E-2</c:v>
                </c:pt>
                <c:pt idx="260">
                  <c:v>1.4999999999999999E-2</c:v>
                </c:pt>
                <c:pt idx="261">
                  <c:v>0.14899999999999999</c:v>
                </c:pt>
                <c:pt idx="262">
                  <c:v>0.14799999999999999</c:v>
                </c:pt>
                <c:pt idx="263">
                  <c:v>0.14799999999999999</c:v>
                </c:pt>
                <c:pt idx="264">
                  <c:v>0.14699999999999999</c:v>
                </c:pt>
                <c:pt idx="265">
                  <c:v>0.14699999999999999</c:v>
                </c:pt>
                <c:pt idx="266">
                  <c:v>0.14599999999999999</c:v>
                </c:pt>
                <c:pt idx="267">
                  <c:v>0.14599999999999999</c:v>
                </c:pt>
                <c:pt idx="268">
                  <c:v>0.14499999999999999</c:v>
                </c:pt>
                <c:pt idx="269">
                  <c:v>0.14399999999999999</c:v>
                </c:pt>
                <c:pt idx="270">
                  <c:v>0.14399999999999999</c:v>
                </c:pt>
                <c:pt idx="271">
                  <c:v>0.14299999999999999</c:v>
                </c:pt>
                <c:pt idx="272">
                  <c:v>0.14299999999999999</c:v>
                </c:pt>
                <c:pt idx="273">
                  <c:v>0.14199999999999999</c:v>
                </c:pt>
                <c:pt idx="274">
                  <c:v>0.218</c:v>
                </c:pt>
                <c:pt idx="275">
                  <c:v>0.218</c:v>
                </c:pt>
                <c:pt idx="276">
                  <c:v>0.217</c:v>
                </c:pt>
                <c:pt idx="277">
                  <c:v>0.216</c:v>
                </c:pt>
                <c:pt idx="278">
                  <c:v>0.187</c:v>
                </c:pt>
                <c:pt idx="279">
                  <c:v>0.186</c:v>
                </c:pt>
                <c:pt idx="280">
                  <c:v>0.185</c:v>
                </c:pt>
                <c:pt idx="281">
                  <c:v>0.185</c:v>
                </c:pt>
                <c:pt idx="282">
                  <c:v>0.184</c:v>
                </c:pt>
                <c:pt idx="283">
                  <c:v>6.7000000000000004E-2</c:v>
                </c:pt>
                <c:pt idx="284">
                  <c:v>6.6000000000000003E-2</c:v>
                </c:pt>
                <c:pt idx="285">
                  <c:v>6.6000000000000003E-2</c:v>
                </c:pt>
                <c:pt idx="286">
                  <c:v>6.6000000000000003E-2</c:v>
                </c:pt>
                <c:pt idx="287">
                  <c:v>6.6000000000000003E-2</c:v>
                </c:pt>
                <c:pt idx="288">
                  <c:v>8.3000000000000004E-2</c:v>
                </c:pt>
                <c:pt idx="289">
                  <c:v>8.3000000000000004E-2</c:v>
                </c:pt>
                <c:pt idx="290">
                  <c:v>8.2000000000000003E-2</c:v>
                </c:pt>
                <c:pt idx="291">
                  <c:v>0.32300000000000001</c:v>
                </c:pt>
                <c:pt idx="292">
                  <c:v>0.32100000000000001</c:v>
                </c:pt>
                <c:pt idx="293">
                  <c:v>0.32</c:v>
                </c:pt>
                <c:pt idx="294">
                  <c:v>0.31900000000000001</c:v>
                </c:pt>
                <c:pt idx="295">
                  <c:v>0.31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C3D4-4008-98E4-DF2CEAE4EF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290043184"/>
        <c:axId val="-1290014896"/>
      </c:lineChart>
      <c:dateAx>
        <c:axId val="-1290043184"/>
        <c:scaling>
          <c:orientation val="minMax"/>
          <c:min val="45658"/>
        </c:scaling>
        <c:delete val="0"/>
        <c:axPos val="b"/>
        <c:numFmt formatCode="yyyy\-mm\-dd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290014896"/>
        <c:crosses val="autoZero"/>
        <c:auto val="1"/>
        <c:lblOffset val="100"/>
        <c:baseTimeUnit val="days"/>
      </c:dateAx>
      <c:valAx>
        <c:axId val="-1290014896"/>
        <c:scaling>
          <c:orientation val="minMax"/>
          <c:max val="1"/>
        </c:scaling>
        <c:delete val="0"/>
        <c:axPos val="l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290043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7179493987640433"/>
          <c:w val="1"/>
          <c:h val="0.124717333987097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zh-CN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/>
              <a:t>高频指标同比增速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7.6855975277104666E-2"/>
          <c:y val="0.14645555766493476"/>
          <c:w val="0.87624881138321542"/>
          <c:h val="0.68856245022503715"/>
        </c:manualLayout>
      </c:layout>
      <c:lineChart>
        <c:grouping val="standard"/>
        <c:varyColors val="0"/>
        <c:ser>
          <c:idx val="0"/>
          <c:order val="0"/>
          <c:tx>
            <c:strRef>
              <c:f>'指数合成-1.0'!$DD$8</c:f>
              <c:strCache>
                <c:ptCount val="1"/>
                <c:pt idx="0">
                  <c:v>地产成交</c:v>
                </c:pt>
              </c:strCache>
            </c:strRef>
          </c:tx>
          <c:spPr>
            <a:ln w="28575" cap="rnd">
              <a:solidFill>
                <a:srgbClr val="004678">
                  <a:lumMod val="60000"/>
                  <a:lumOff val="40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'指数合成-1.0'!$DC$165:$DC$379</c:f>
              <c:numCache>
                <c:formatCode>yyyy\-mm\-dd</c:formatCode>
                <c:ptCount val="215"/>
                <c:pt idx="0">
                  <c:v>44561</c:v>
                </c:pt>
                <c:pt idx="1">
                  <c:v>44568</c:v>
                </c:pt>
                <c:pt idx="2">
                  <c:v>44575</c:v>
                </c:pt>
                <c:pt idx="3">
                  <c:v>44582</c:v>
                </c:pt>
                <c:pt idx="4">
                  <c:v>44589</c:v>
                </c:pt>
                <c:pt idx="5">
                  <c:v>44596</c:v>
                </c:pt>
                <c:pt idx="6">
                  <c:v>44603</c:v>
                </c:pt>
                <c:pt idx="7">
                  <c:v>44610</c:v>
                </c:pt>
                <c:pt idx="8">
                  <c:v>44617</c:v>
                </c:pt>
                <c:pt idx="9">
                  <c:v>44624</c:v>
                </c:pt>
                <c:pt idx="10">
                  <c:v>44631</c:v>
                </c:pt>
                <c:pt idx="11">
                  <c:v>44638</c:v>
                </c:pt>
                <c:pt idx="12">
                  <c:v>44645</c:v>
                </c:pt>
                <c:pt idx="13">
                  <c:v>44652</c:v>
                </c:pt>
                <c:pt idx="14">
                  <c:v>44659</c:v>
                </c:pt>
                <c:pt idx="15">
                  <c:v>44666</c:v>
                </c:pt>
                <c:pt idx="16">
                  <c:v>44673</c:v>
                </c:pt>
                <c:pt idx="17">
                  <c:v>44680</c:v>
                </c:pt>
                <c:pt idx="18">
                  <c:v>44687</c:v>
                </c:pt>
                <c:pt idx="19">
                  <c:v>44694</c:v>
                </c:pt>
                <c:pt idx="20">
                  <c:v>44701</c:v>
                </c:pt>
                <c:pt idx="21">
                  <c:v>44708</c:v>
                </c:pt>
                <c:pt idx="22">
                  <c:v>44715</c:v>
                </c:pt>
                <c:pt idx="23">
                  <c:v>44722</c:v>
                </c:pt>
                <c:pt idx="24">
                  <c:v>44729</c:v>
                </c:pt>
                <c:pt idx="25">
                  <c:v>44736</c:v>
                </c:pt>
                <c:pt idx="26">
                  <c:v>44743</c:v>
                </c:pt>
                <c:pt idx="27">
                  <c:v>44750</c:v>
                </c:pt>
                <c:pt idx="28">
                  <c:v>44757</c:v>
                </c:pt>
                <c:pt idx="29">
                  <c:v>44764</c:v>
                </c:pt>
                <c:pt idx="30">
                  <c:v>44771</c:v>
                </c:pt>
                <c:pt idx="31">
                  <c:v>44778</c:v>
                </c:pt>
                <c:pt idx="32">
                  <c:v>44785</c:v>
                </c:pt>
                <c:pt idx="33">
                  <c:v>44792</c:v>
                </c:pt>
                <c:pt idx="34">
                  <c:v>44799</c:v>
                </c:pt>
                <c:pt idx="35">
                  <c:v>44806</c:v>
                </c:pt>
                <c:pt idx="36">
                  <c:v>44813</c:v>
                </c:pt>
                <c:pt idx="37">
                  <c:v>44820</c:v>
                </c:pt>
                <c:pt idx="38">
                  <c:v>44827</c:v>
                </c:pt>
                <c:pt idx="39">
                  <c:v>44834</c:v>
                </c:pt>
                <c:pt idx="40">
                  <c:v>44841</c:v>
                </c:pt>
                <c:pt idx="41">
                  <c:v>44848</c:v>
                </c:pt>
                <c:pt idx="42">
                  <c:v>44855</c:v>
                </c:pt>
                <c:pt idx="43">
                  <c:v>44862</c:v>
                </c:pt>
                <c:pt idx="44">
                  <c:v>44869</c:v>
                </c:pt>
                <c:pt idx="45">
                  <c:v>44876</c:v>
                </c:pt>
                <c:pt idx="46">
                  <c:v>44883</c:v>
                </c:pt>
                <c:pt idx="47">
                  <c:v>44890</c:v>
                </c:pt>
                <c:pt idx="48">
                  <c:v>44897</c:v>
                </c:pt>
                <c:pt idx="49">
                  <c:v>44904</c:v>
                </c:pt>
                <c:pt idx="50">
                  <c:v>44911</c:v>
                </c:pt>
                <c:pt idx="51">
                  <c:v>44918</c:v>
                </c:pt>
                <c:pt idx="52">
                  <c:v>44925</c:v>
                </c:pt>
                <c:pt idx="53">
                  <c:v>44932</c:v>
                </c:pt>
                <c:pt idx="54">
                  <c:v>44939</c:v>
                </c:pt>
                <c:pt idx="55">
                  <c:v>44946</c:v>
                </c:pt>
                <c:pt idx="56">
                  <c:v>44953</c:v>
                </c:pt>
                <c:pt idx="57">
                  <c:v>44960</c:v>
                </c:pt>
                <c:pt idx="58">
                  <c:v>44967</c:v>
                </c:pt>
                <c:pt idx="59">
                  <c:v>44974</c:v>
                </c:pt>
                <c:pt idx="60">
                  <c:v>44981</c:v>
                </c:pt>
                <c:pt idx="61">
                  <c:v>44988</c:v>
                </c:pt>
                <c:pt idx="62">
                  <c:v>44995</c:v>
                </c:pt>
                <c:pt idx="63">
                  <c:v>45002</c:v>
                </c:pt>
                <c:pt idx="64">
                  <c:v>45009</c:v>
                </c:pt>
                <c:pt idx="65">
                  <c:v>45016</c:v>
                </c:pt>
                <c:pt idx="66">
                  <c:v>45023</c:v>
                </c:pt>
                <c:pt idx="67">
                  <c:v>45030</c:v>
                </c:pt>
                <c:pt idx="68">
                  <c:v>45037</c:v>
                </c:pt>
                <c:pt idx="69">
                  <c:v>45044</c:v>
                </c:pt>
                <c:pt idx="70">
                  <c:v>45051</c:v>
                </c:pt>
                <c:pt idx="71">
                  <c:v>45058</c:v>
                </c:pt>
                <c:pt idx="72">
                  <c:v>45065</c:v>
                </c:pt>
                <c:pt idx="73">
                  <c:v>45072</c:v>
                </c:pt>
                <c:pt idx="74">
                  <c:v>45079</c:v>
                </c:pt>
                <c:pt idx="75">
                  <c:v>45086</c:v>
                </c:pt>
                <c:pt idx="76">
                  <c:v>45093</c:v>
                </c:pt>
                <c:pt idx="77">
                  <c:v>45100</c:v>
                </c:pt>
                <c:pt idx="78">
                  <c:v>45107</c:v>
                </c:pt>
                <c:pt idx="79">
                  <c:v>45114</c:v>
                </c:pt>
                <c:pt idx="80">
                  <c:v>45121</c:v>
                </c:pt>
                <c:pt idx="81">
                  <c:v>45128</c:v>
                </c:pt>
                <c:pt idx="82">
                  <c:v>45135</c:v>
                </c:pt>
                <c:pt idx="83">
                  <c:v>45142</c:v>
                </c:pt>
                <c:pt idx="84">
                  <c:v>45149</c:v>
                </c:pt>
                <c:pt idx="85">
                  <c:v>45156</c:v>
                </c:pt>
                <c:pt idx="86">
                  <c:v>45163</c:v>
                </c:pt>
                <c:pt idx="87">
                  <c:v>45170</c:v>
                </c:pt>
                <c:pt idx="88">
                  <c:v>45177</c:v>
                </c:pt>
                <c:pt idx="89">
                  <c:v>45184</c:v>
                </c:pt>
                <c:pt idx="90">
                  <c:v>45191</c:v>
                </c:pt>
                <c:pt idx="91">
                  <c:v>45198</c:v>
                </c:pt>
                <c:pt idx="92">
                  <c:v>45205</c:v>
                </c:pt>
                <c:pt idx="93">
                  <c:v>45212</c:v>
                </c:pt>
                <c:pt idx="94">
                  <c:v>45219</c:v>
                </c:pt>
                <c:pt idx="95">
                  <c:v>45226</c:v>
                </c:pt>
                <c:pt idx="96">
                  <c:v>45233</c:v>
                </c:pt>
                <c:pt idx="97">
                  <c:v>45240</c:v>
                </c:pt>
                <c:pt idx="98">
                  <c:v>45247</c:v>
                </c:pt>
                <c:pt idx="99">
                  <c:v>45254</c:v>
                </c:pt>
                <c:pt idx="100">
                  <c:v>45261</c:v>
                </c:pt>
                <c:pt idx="101">
                  <c:v>45268</c:v>
                </c:pt>
                <c:pt idx="102">
                  <c:v>45275</c:v>
                </c:pt>
                <c:pt idx="103">
                  <c:v>45282</c:v>
                </c:pt>
                <c:pt idx="104">
                  <c:v>45289</c:v>
                </c:pt>
                <c:pt idx="105">
                  <c:v>45296</c:v>
                </c:pt>
                <c:pt idx="106">
                  <c:v>45303</c:v>
                </c:pt>
                <c:pt idx="107">
                  <c:v>45310</c:v>
                </c:pt>
                <c:pt idx="108">
                  <c:v>45317</c:v>
                </c:pt>
                <c:pt idx="109">
                  <c:v>45324</c:v>
                </c:pt>
                <c:pt idx="110">
                  <c:v>45331</c:v>
                </c:pt>
                <c:pt idx="111">
                  <c:v>45338</c:v>
                </c:pt>
                <c:pt idx="112">
                  <c:v>45345</c:v>
                </c:pt>
                <c:pt idx="113">
                  <c:v>45352</c:v>
                </c:pt>
                <c:pt idx="114">
                  <c:v>45359</c:v>
                </c:pt>
                <c:pt idx="115">
                  <c:v>45366</c:v>
                </c:pt>
                <c:pt idx="116">
                  <c:v>45373</c:v>
                </c:pt>
                <c:pt idx="117">
                  <c:v>45380</c:v>
                </c:pt>
                <c:pt idx="118">
                  <c:v>45387</c:v>
                </c:pt>
                <c:pt idx="119">
                  <c:v>45394</c:v>
                </c:pt>
                <c:pt idx="120">
                  <c:v>45401</c:v>
                </c:pt>
                <c:pt idx="121">
                  <c:v>45408</c:v>
                </c:pt>
                <c:pt idx="122">
                  <c:v>45415</c:v>
                </c:pt>
                <c:pt idx="123">
                  <c:v>45422</c:v>
                </c:pt>
                <c:pt idx="124">
                  <c:v>45429</c:v>
                </c:pt>
                <c:pt idx="125">
                  <c:v>45436</c:v>
                </c:pt>
                <c:pt idx="126">
                  <c:v>45443</c:v>
                </c:pt>
                <c:pt idx="127">
                  <c:v>45450</c:v>
                </c:pt>
                <c:pt idx="128">
                  <c:v>45457</c:v>
                </c:pt>
                <c:pt idx="129">
                  <c:v>45464</c:v>
                </c:pt>
                <c:pt idx="130">
                  <c:v>45471</c:v>
                </c:pt>
                <c:pt idx="131">
                  <c:v>45478</c:v>
                </c:pt>
                <c:pt idx="132">
                  <c:v>45485</c:v>
                </c:pt>
                <c:pt idx="133">
                  <c:v>45492</c:v>
                </c:pt>
                <c:pt idx="134">
                  <c:v>45499</c:v>
                </c:pt>
                <c:pt idx="135">
                  <c:v>45506</c:v>
                </c:pt>
                <c:pt idx="136">
                  <c:v>45513</c:v>
                </c:pt>
                <c:pt idx="137">
                  <c:v>45520</c:v>
                </c:pt>
                <c:pt idx="138">
                  <c:v>45527</c:v>
                </c:pt>
                <c:pt idx="139">
                  <c:v>45534</c:v>
                </c:pt>
                <c:pt idx="140">
                  <c:v>45541</c:v>
                </c:pt>
                <c:pt idx="141">
                  <c:v>45548</c:v>
                </c:pt>
                <c:pt idx="142">
                  <c:v>45555</c:v>
                </c:pt>
                <c:pt idx="143">
                  <c:v>45562</c:v>
                </c:pt>
                <c:pt idx="144">
                  <c:v>45569</c:v>
                </c:pt>
                <c:pt idx="145">
                  <c:v>45576</c:v>
                </c:pt>
                <c:pt idx="146">
                  <c:v>45583</c:v>
                </c:pt>
                <c:pt idx="147">
                  <c:v>45590</c:v>
                </c:pt>
                <c:pt idx="148">
                  <c:v>45597</c:v>
                </c:pt>
                <c:pt idx="149">
                  <c:v>45604</c:v>
                </c:pt>
                <c:pt idx="150">
                  <c:v>45611</c:v>
                </c:pt>
                <c:pt idx="151">
                  <c:v>45618</c:v>
                </c:pt>
                <c:pt idx="152">
                  <c:v>45625</c:v>
                </c:pt>
                <c:pt idx="153">
                  <c:v>45632</c:v>
                </c:pt>
                <c:pt idx="154">
                  <c:v>45639</c:v>
                </c:pt>
                <c:pt idx="155">
                  <c:v>45646</c:v>
                </c:pt>
                <c:pt idx="156">
                  <c:v>45653</c:v>
                </c:pt>
                <c:pt idx="157">
                  <c:v>45660</c:v>
                </c:pt>
                <c:pt idx="158">
                  <c:v>45667</c:v>
                </c:pt>
                <c:pt idx="159">
                  <c:v>45674</c:v>
                </c:pt>
                <c:pt idx="160">
                  <c:v>45681</c:v>
                </c:pt>
                <c:pt idx="161">
                  <c:v>45688</c:v>
                </c:pt>
                <c:pt idx="162">
                  <c:v>45695</c:v>
                </c:pt>
                <c:pt idx="163">
                  <c:v>45702</c:v>
                </c:pt>
                <c:pt idx="164">
                  <c:v>45709</c:v>
                </c:pt>
                <c:pt idx="165">
                  <c:v>45716</c:v>
                </c:pt>
                <c:pt idx="166">
                  <c:v>45723</c:v>
                </c:pt>
                <c:pt idx="167">
                  <c:v>45730</c:v>
                </c:pt>
                <c:pt idx="168">
                  <c:v>45737</c:v>
                </c:pt>
                <c:pt idx="169">
                  <c:v>45744</c:v>
                </c:pt>
                <c:pt idx="170">
                  <c:v>45751</c:v>
                </c:pt>
                <c:pt idx="171">
                  <c:v>45758</c:v>
                </c:pt>
                <c:pt idx="172">
                  <c:v>45765</c:v>
                </c:pt>
                <c:pt idx="173">
                  <c:v>45772</c:v>
                </c:pt>
                <c:pt idx="174">
                  <c:v>45779</c:v>
                </c:pt>
                <c:pt idx="175">
                  <c:v>45786</c:v>
                </c:pt>
                <c:pt idx="176">
                  <c:v>45793</c:v>
                </c:pt>
                <c:pt idx="177">
                  <c:v>45800</c:v>
                </c:pt>
                <c:pt idx="178">
                  <c:v>45807</c:v>
                </c:pt>
                <c:pt idx="179">
                  <c:v>45814</c:v>
                </c:pt>
                <c:pt idx="180">
                  <c:v>45821</c:v>
                </c:pt>
                <c:pt idx="181">
                  <c:v>45828</c:v>
                </c:pt>
                <c:pt idx="182">
                  <c:v>45835</c:v>
                </c:pt>
                <c:pt idx="183">
                  <c:v>45842</c:v>
                </c:pt>
                <c:pt idx="184">
                  <c:v>45849</c:v>
                </c:pt>
                <c:pt idx="185">
                  <c:v>45856</c:v>
                </c:pt>
                <c:pt idx="186">
                  <c:v>45863</c:v>
                </c:pt>
                <c:pt idx="187">
                  <c:v>45870</c:v>
                </c:pt>
                <c:pt idx="188">
                  <c:v>45877</c:v>
                </c:pt>
                <c:pt idx="189">
                  <c:v>45884</c:v>
                </c:pt>
                <c:pt idx="190">
                  <c:v>45891</c:v>
                </c:pt>
                <c:pt idx="191">
                  <c:v>45898</c:v>
                </c:pt>
                <c:pt idx="192">
                  <c:v>45905</c:v>
                </c:pt>
                <c:pt idx="193">
                  <c:v>45912</c:v>
                </c:pt>
                <c:pt idx="194">
                  <c:v>45919</c:v>
                </c:pt>
                <c:pt idx="195">
                  <c:v>45926</c:v>
                </c:pt>
                <c:pt idx="196">
                  <c:v>45933</c:v>
                </c:pt>
                <c:pt idx="197">
                  <c:v>45940</c:v>
                </c:pt>
                <c:pt idx="198">
                  <c:v>45947</c:v>
                </c:pt>
                <c:pt idx="199">
                  <c:v>45954</c:v>
                </c:pt>
                <c:pt idx="200">
                  <c:v>45961</c:v>
                </c:pt>
                <c:pt idx="201">
                  <c:v>45968</c:v>
                </c:pt>
                <c:pt idx="202">
                  <c:v>45975</c:v>
                </c:pt>
                <c:pt idx="203">
                  <c:v>45982</c:v>
                </c:pt>
                <c:pt idx="204">
                  <c:v>45989</c:v>
                </c:pt>
                <c:pt idx="205">
                  <c:v>45996</c:v>
                </c:pt>
              </c:numCache>
            </c:numRef>
          </c:cat>
          <c:val>
            <c:numRef>
              <c:f>'指数合成-1.0'!$DD$165:$DD$379</c:f>
              <c:numCache>
                <c:formatCode>0.0</c:formatCode>
                <c:ptCount val="215"/>
                <c:pt idx="0">
                  <c:v>-13.239765575909814</c:v>
                </c:pt>
                <c:pt idx="1">
                  <c:v>-13.651711598968689</c:v>
                </c:pt>
                <c:pt idx="2">
                  <c:v>-13.508019723311378</c:v>
                </c:pt>
                <c:pt idx="3">
                  <c:v>-13.131882061128678</c:v>
                </c:pt>
                <c:pt idx="4">
                  <c:v>-16.92860269722442</c:v>
                </c:pt>
                <c:pt idx="5">
                  <c:v>-28.374396039849984</c:v>
                </c:pt>
                <c:pt idx="6">
                  <c:v>-31.047876940124411</c:v>
                </c:pt>
                <c:pt idx="7">
                  <c:v>-22.411299903199321</c:v>
                </c:pt>
                <c:pt idx="8">
                  <c:v>-21.109528484378046</c:v>
                </c:pt>
                <c:pt idx="9">
                  <c:v>-5.8265999738016774</c:v>
                </c:pt>
                <c:pt idx="10">
                  <c:v>-12.223176906290249</c:v>
                </c:pt>
                <c:pt idx="11">
                  <c:v>-30.438614397503571</c:v>
                </c:pt>
                <c:pt idx="12">
                  <c:v>-35.464029068161196</c:v>
                </c:pt>
                <c:pt idx="13">
                  <c:v>-37.481323685273402</c:v>
                </c:pt>
                <c:pt idx="14">
                  <c:v>-39.306946619611949</c:v>
                </c:pt>
                <c:pt idx="15">
                  <c:v>-39.981740820522127</c:v>
                </c:pt>
                <c:pt idx="16">
                  <c:v>-40.282305740706491</c:v>
                </c:pt>
                <c:pt idx="17">
                  <c:v>-41.172802769398331</c:v>
                </c:pt>
                <c:pt idx="18">
                  <c:v>-40.386443261155634</c:v>
                </c:pt>
                <c:pt idx="19">
                  <c:v>-39.544462245289992</c:v>
                </c:pt>
                <c:pt idx="20">
                  <c:v>-38.56082383833067</c:v>
                </c:pt>
                <c:pt idx="21">
                  <c:v>-35.979916549241636</c:v>
                </c:pt>
                <c:pt idx="22">
                  <c:v>-36.500605485305115</c:v>
                </c:pt>
                <c:pt idx="23">
                  <c:v>-34.088239208036342</c:v>
                </c:pt>
                <c:pt idx="24">
                  <c:v>-22.652272657934446</c:v>
                </c:pt>
                <c:pt idx="25">
                  <c:v>-13.597125800575384</c:v>
                </c:pt>
                <c:pt idx="26">
                  <c:v>-2.5518661454764668</c:v>
                </c:pt>
                <c:pt idx="27">
                  <c:v>-3.6659362145281307</c:v>
                </c:pt>
                <c:pt idx="28">
                  <c:v>-14.615935934989338</c:v>
                </c:pt>
                <c:pt idx="29">
                  <c:v>-20.668251426082392</c:v>
                </c:pt>
                <c:pt idx="30">
                  <c:v>-24.836754454228156</c:v>
                </c:pt>
                <c:pt idx="31">
                  <c:v>-19.005891196689845</c:v>
                </c:pt>
                <c:pt idx="32">
                  <c:v>-16.214629746491283</c:v>
                </c:pt>
                <c:pt idx="33">
                  <c:v>-15.017747407133413</c:v>
                </c:pt>
                <c:pt idx="34">
                  <c:v>-15.641435327934076</c:v>
                </c:pt>
                <c:pt idx="35">
                  <c:v>-15.226721380773853</c:v>
                </c:pt>
                <c:pt idx="36">
                  <c:v>-16.254487024911285</c:v>
                </c:pt>
                <c:pt idx="37">
                  <c:v>-22.228149028555052</c:v>
                </c:pt>
                <c:pt idx="38">
                  <c:v>-15.779061225451002</c:v>
                </c:pt>
                <c:pt idx="39">
                  <c:v>-7.2993559860719586</c:v>
                </c:pt>
                <c:pt idx="40">
                  <c:v>-4.3342118627245867</c:v>
                </c:pt>
                <c:pt idx="41">
                  <c:v>1.5219301663105966</c:v>
                </c:pt>
                <c:pt idx="42">
                  <c:v>-5.7617675317501664</c:v>
                </c:pt>
                <c:pt idx="43">
                  <c:v>-13.755920912501807</c:v>
                </c:pt>
                <c:pt idx="44">
                  <c:v>-12.317516640037113</c:v>
                </c:pt>
                <c:pt idx="45">
                  <c:v>-13.808670714325416</c:v>
                </c:pt>
                <c:pt idx="46">
                  <c:v>-17.049576252601284</c:v>
                </c:pt>
                <c:pt idx="47">
                  <c:v>-18.347554494822703</c:v>
                </c:pt>
                <c:pt idx="48">
                  <c:v>-19.549107097725823</c:v>
                </c:pt>
                <c:pt idx="49">
                  <c:v>-15.356009150579709</c:v>
                </c:pt>
                <c:pt idx="50">
                  <c:v>-13.899360336492279</c:v>
                </c:pt>
                <c:pt idx="51">
                  <c:v>-19.165922213651527</c:v>
                </c:pt>
                <c:pt idx="52">
                  <c:v>-17.98728427315406</c:v>
                </c:pt>
                <c:pt idx="53">
                  <c:v>-15.937618709852401</c:v>
                </c:pt>
                <c:pt idx="54">
                  <c:v>-15.431736773538404</c:v>
                </c:pt>
                <c:pt idx="55">
                  <c:v>-13.859642346781854</c:v>
                </c:pt>
                <c:pt idx="56">
                  <c:v>-29.314698569007149</c:v>
                </c:pt>
                <c:pt idx="57">
                  <c:v>-27.285238180571412</c:v>
                </c:pt>
                <c:pt idx="58">
                  <c:v>-20.921936362276909</c:v>
                </c:pt>
                <c:pt idx="59">
                  <c:v>-12.608611245593522</c:v>
                </c:pt>
                <c:pt idx="60">
                  <c:v>15.539703145119717</c:v>
                </c:pt>
                <c:pt idx="61">
                  <c:v>10.645987734163057</c:v>
                </c:pt>
                <c:pt idx="62">
                  <c:v>10.345332028454408</c:v>
                </c:pt>
                <c:pt idx="63">
                  <c:v>19.731207667821167</c:v>
                </c:pt>
                <c:pt idx="64">
                  <c:v>27.061249152553984</c:v>
                </c:pt>
                <c:pt idx="65">
                  <c:v>34.511339536347606</c:v>
                </c:pt>
                <c:pt idx="66">
                  <c:v>35.120255979003105</c:v>
                </c:pt>
                <c:pt idx="67">
                  <c:v>31.785599147595804</c:v>
                </c:pt>
                <c:pt idx="68">
                  <c:v>27.303947125326616</c:v>
                </c:pt>
                <c:pt idx="69">
                  <c:v>21.881641565971805</c:v>
                </c:pt>
                <c:pt idx="70">
                  <c:v>19.335046676129423</c:v>
                </c:pt>
                <c:pt idx="71">
                  <c:v>17.647667738402006</c:v>
                </c:pt>
                <c:pt idx="72">
                  <c:v>17.472289362650926</c:v>
                </c:pt>
                <c:pt idx="73">
                  <c:v>14.084465256950665</c:v>
                </c:pt>
                <c:pt idx="74">
                  <c:v>16.318637594927864</c:v>
                </c:pt>
                <c:pt idx="75">
                  <c:v>8.7084906445313806</c:v>
                </c:pt>
                <c:pt idx="76">
                  <c:v>-4.8887883754687067</c:v>
                </c:pt>
                <c:pt idx="77">
                  <c:v>-20.31378679562502</c:v>
                </c:pt>
                <c:pt idx="78">
                  <c:v>-27.630700776296834</c:v>
                </c:pt>
                <c:pt idx="79">
                  <c:v>-28.847584769702053</c:v>
                </c:pt>
                <c:pt idx="80">
                  <c:v>-27.090254867743184</c:v>
                </c:pt>
                <c:pt idx="81">
                  <c:v>-20.628096604871601</c:v>
                </c:pt>
                <c:pt idx="82">
                  <c:v>-19.868898937045941</c:v>
                </c:pt>
                <c:pt idx="83">
                  <c:v>-19.420736088213729</c:v>
                </c:pt>
                <c:pt idx="84">
                  <c:v>-18.252373786513431</c:v>
                </c:pt>
                <c:pt idx="85">
                  <c:v>-18.030738614845561</c:v>
                </c:pt>
                <c:pt idx="86">
                  <c:v>-16.15706120313466</c:v>
                </c:pt>
                <c:pt idx="87">
                  <c:v>-14.625590207908459</c:v>
                </c:pt>
                <c:pt idx="88">
                  <c:v>-14.015925197565153</c:v>
                </c:pt>
                <c:pt idx="89">
                  <c:v>-9.2833729554693321</c:v>
                </c:pt>
                <c:pt idx="90">
                  <c:v>-10.716777619346914</c:v>
                </c:pt>
                <c:pt idx="91">
                  <c:v>-16.516018789538734</c:v>
                </c:pt>
                <c:pt idx="92">
                  <c:v>-14.582700796797212</c:v>
                </c:pt>
                <c:pt idx="93">
                  <c:v>-16.044979759597723</c:v>
                </c:pt>
                <c:pt idx="94">
                  <c:v>-12.776927761792805</c:v>
                </c:pt>
                <c:pt idx="95">
                  <c:v>-4.2229534239761648</c:v>
                </c:pt>
                <c:pt idx="96">
                  <c:v>-4.3303040321996633</c:v>
                </c:pt>
                <c:pt idx="97">
                  <c:v>-5.6060164835354414</c:v>
                </c:pt>
                <c:pt idx="98">
                  <c:v>-7.2838335832032897</c:v>
                </c:pt>
                <c:pt idx="99">
                  <c:v>-9.8819435341018789</c:v>
                </c:pt>
                <c:pt idx="100">
                  <c:v>-10.521057135206775</c:v>
                </c:pt>
                <c:pt idx="101">
                  <c:v>-11.314972755729841</c:v>
                </c:pt>
                <c:pt idx="102">
                  <c:v>-10.517207926132926</c:v>
                </c:pt>
                <c:pt idx="103">
                  <c:v>-5.1918488966367562</c:v>
                </c:pt>
                <c:pt idx="104">
                  <c:v>-5.307146887729516</c:v>
                </c:pt>
                <c:pt idx="105">
                  <c:v>-6.8682933696383799</c:v>
                </c:pt>
                <c:pt idx="106">
                  <c:v>-12.257513135112248</c:v>
                </c:pt>
                <c:pt idx="107">
                  <c:v>-16.675323427041164</c:v>
                </c:pt>
                <c:pt idx="108">
                  <c:v>-7.0995528462138111</c:v>
                </c:pt>
                <c:pt idx="109">
                  <c:v>2.0186009195431183</c:v>
                </c:pt>
                <c:pt idx="110">
                  <c:v>2.457896480661276</c:v>
                </c:pt>
                <c:pt idx="111">
                  <c:v>-16.512260723849394</c:v>
                </c:pt>
                <c:pt idx="112">
                  <c:v>-40.683970709918007</c:v>
                </c:pt>
                <c:pt idx="113">
                  <c:v>-49.870888163666827</c:v>
                </c:pt>
                <c:pt idx="114">
                  <c:v>-51.656376613797846</c:v>
                </c:pt>
                <c:pt idx="115">
                  <c:v>-45.598228127218299</c:v>
                </c:pt>
                <c:pt idx="116">
                  <c:v>-40.901399959795157</c:v>
                </c:pt>
                <c:pt idx="117">
                  <c:v>-36.990104711513325</c:v>
                </c:pt>
                <c:pt idx="118">
                  <c:v>-32.512338557494374</c:v>
                </c:pt>
                <c:pt idx="119">
                  <c:v>-29.833836911320162</c:v>
                </c:pt>
                <c:pt idx="120">
                  <c:v>-27.882427251614615</c:v>
                </c:pt>
                <c:pt idx="121">
                  <c:v>-29.387371715702884</c:v>
                </c:pt>
                <c:pt idx="122">
                  <c:v>-25.925750157702993</c:v>
                </c:pt>
                <c:pt idx="123">
                  <c:v>-29.168579867331758</c:v>
                </c:pt>
                <c:pt idx="124">
                  <c:v>-27.830481061318821</c:v>
                </c:pt>
                <c:pt idx="125">
                  <c:v>-25.096462174719704</c:v>
                </c:pt>
                <c:pt idx="126">
                  <c:v>-28.262990493244061</c:v>
                </c:pt>
                <c:pt idx="127">
                  <c:v>-22.643896349035387</c:v>
                </c:pt>
                <c:pt idx="128">
                  <c:v>-23.992075614420443</c:v>
                </c:pt>
                <c:pt idx="129">
                  <c:v>-19.76316476472158</c:v>
                </c:pt>
                <c:pt idx="130">
                  <c:v>-18.359775054800451</c:v>
                </c:pt>
                <c:pt idx="131">
                  <c:v>-10.046263012049778</c:v>
                </c:pt>
                <c:pt idx="132">
                  <c:v>-4.6856963230651303</c:v>
                </c:pt>
                <c:pt idx="133">
                  <c:v>-6.4316720268178926</c:v>
                </c:pt>
                <c:pt idx="134">
                  <c:v>-5.1081857035225653</c:v>
                </c:pt>
                <c:pt idx="135">
                  <c:v>-12.310638079485003</c:v>
                </c:pt>
                <c:pt idx="136">
                  <c:v>-13.046599947813888</c:v>
                </c:pt>
                <c:pt idx="137">
                  <c:v>-12.759755581937398</c:v>
                </c:pt>
                <c:pt idx="138">
                  <c:v>-11.315467093874844</c:v>
                </c:pt>
                <c:pt idx="139">
                  <c:v>-17.072121765429941</c:v>
                </c:pt>
                <c:pt idx="140">
                  <c:v>-16.876977317793475</c:v>
                </c:pt>
                <c:pt idx="141">
                  <c:v>-18.744208211564882</c:v>
                </c:pt>
                <c:pt idx="142">
                  <c:v>-25.485707699392492</c:v>
                </c:pt>
                <c:pt idx="143">
                  <c:v>-26.377330802781401</c:v>
                </c:pt>
                <c:pt idx="144">
                  <c:v>-19.612158557376532</c:v>
                </c:pt>
                <c:pt idx="145">
                  <c:v>-21.153582767078078</c:v>
                </c:pt>
                <c:pt idx="146">
                  <c:v>-10.097740998928856</c:v>
                </c:pt>
                <c:pt idx="147">
                  <c:v>-3.9606202014170435</c:v>
                </c:pt>
                <c:pt idx="148">
                  <c:v>-5.8407588520916534</c:v>
                </c:pt>
                <c:pt idx="149">
                  <c:v>4.2663149964168952</c:v>
                </c:pt>
                <c:pt idx="150">
                  <c:v>4.8811428526039009</c:v>
                </c:pt>
                <c:pt idx="151">
                  <c:v>10.687325614543838</c:v>
                </c:pt>
                <c:pt idx="152">
                  <c:v>10.725540550546327</c:v>
                </c:pt>
                <c:pt idx="153">
                  <c:v>13.28856109894862</c:v>
                </c:pt>
                <c:pt idx="154">
                  <c:v>14.845365275749799</c:v>
                </c:pt>
                <c:pt idx="155">
                  <c:v>13.879886013611738</c:v>
                </c:pt>
                <c:pt idx="156">
                  <c:v>10.776844477823346</c:v>
                </c:pt>
                <c:pt idx="157">
                  <c:v>13.567210444384756</c:v>
                </c:pt>
                <c:pt idx="158">
                  <c:v>12.415234836122551</c:v>
                </c:pt>
                <c:pt idx="159">
                  <c:v>11.850250111299502</c:v>
                </c:pt>
                <c:pt idx="160">
                  <c:v>13.037674588236328</c:v>
                </c:pt>
                <c:pt idx="161">
                  <c:v>-11.310331392186271</c:v>
                </c:pt>
                <c:pt idx="162">
                  <c:v>-18.656241092777648</c:v>
                </c:pt>
                <c:pt idx="163">
                  <c:v>-10.802036453143316</c:v>
                </c:pt>
                <c:pt idx="164">
                  <c:v>-4.7857467274133967</c:v>
                </c:pt>
                <c:pt idx="165">
                  <c:v>21.254411478817616</c:v>
                </c:pt>
                <c:pt idx="166">
                  <c:v>31.582147577686413</c:v>
                </c:pt>
                <c:pt idx="167">
                  <c:v>16.424813970689129</c:v>
                </c:pt>
                <c:pt idx="168">
                  <c:v>8.194431726560353</c:v>
                </c:pt>
                <c:pt idx="169">
                  <c:v>-0.85558331205388072</c:v>
                </c:pt>
                <c:pt idx="170">
                  <c:v>0.71219504757773677</c:v>
                </c:pt>
                <c:pt idx="171">
                  <c:v>-3.6015383560867633</c:v>
                </c:pt>
                <c:pt idx="172">
                  <c:v>-5.7464458047186753</c:v>
                </c:pt>
                <c:pt idx="173">
                  <c:v>-6.3234652420943576</c:v>
                </c:pt>
                <c:pt idx="174">
                  <c:v>-7.4391885430446365</c:v>
                </c:pt>
                <c:pt idx="175">
                  <c:v>-4.794658023127667</c:v>
                </c:pt>
                <c:pt idx="176">
                  <c:v>-3.5516354054271062</c:v>
                </c:pt>
                <c:pt idx="177">
                  <c:v>-0.46706929776689776</c:v>
                </c:pt>
                <c:pt idx="178">
                  <c:v>-4.0249370588480531</c:v>
                </c:pt>
                <c:pt idx="179">
                  <c:v>-5.0467476333483887</c:v>
                </c:pt>
                <c:pt idx="180">
                  <c:v>-2.9196213716821688</c:v>
                </c:pt>
                <c:pt idx="181">
                  <c:v>-4.3343800307525697</c:v>
                </c:pt>
                <c:pt idx="182">
                  <c:v>-6.8477287026240958</c:v>
                </c:pt>
                <c:pt idx="183">
                  <c:v>-6.1670348682784919</c:v>
                </c:pt>
                <c:pt idx="184">
                  <c:v>-9.0515246778428775</c:v>
                </c:pt>
                <c:pt idx="185">
                  <c:v>-10.640936682468137</c:v>
                </c:pt>
                <c:pt idx="186">
                  <c:v>-8.9682523997299626</c:v>
                </c:pt>
                <c:pt idx="187">
                  <c:v>-10.521566186547489</c:v>
                </c:pt>
                <c:pt idx="188">
                  <c:v>-9.5475440178441175</c:v>
                </c:pt>
                <c:pt idx="189">
                  <c:v>-7.2018969738319214</c:v>
                </c:pt>
                <c:pt idx="190">
                  <c:v>-8.3355428159395046</c:v>
                </c:pt>
                <c:pt idx="191">
                  <c:v>-5.0558174607154172</c:v>
                </c:pt>
                <c:pt idx="192">
                  <c:v>-2.3345925372436795</c:v>
                </c:pt>
                <c:pt idx="193">
                  <c:v>-0.15108405667658076</c:v>
                </c:pt>
                <c:pt idx="194">
                  <c:v>5.6466757318939216</c:v>
                </c:pt>
                <c:pt idx="195">
                  <c:v>4.202468718094039</c:v>
                </c:pt>
                <c:pt idx="196">
                  <c:v>4.3905267303800315</c:v>
                </c:pt>
                <c:pt idx="197">
                  <c:v>-3.1663610999050462</c:v>
                </c:pt>
                <c:pt idx="198">
                  <c:v>-9.820760453039469</c:v>
                </c:pt>
                <c:pt idx="199">
                  <c:v>-12.669059998321913</c:v>
                </c:pt>
                <c:pt idx="200">
                  <c:v>-20.161584829502331</c:v>
                </c:pt>
                <c:pt idx="201">
                  <c:v>-21.025167405620167</c:v>
                </c:pt>
                <c:pt idx="202">
                  <c:v>-21.993926547797884</c:v>
                </c:pt>
                <c:pt idx="203">
                  <c:v>-22.644538771400804</c:v>
                </c:pt>
                <c:pt idx="204">
                  <c:v>-22.422963551434179</c:v>
                </c:pt>
                <c:pt idx="205">
                  <c:v>-21.290620846753811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8A58-4F01-8B01-E4328FD82A9F}"/>
            </c:ext>
          </c:extLst>
        </c:ser>
        <c:ser>
          <c:idx val="4"/>
          <c:order val="3"/>
          <c:tx>
            <c:strRef>
              <c:f>'指数合成-1.0'!$DH$8</c:f>
              <c:strCache>
                <c:ptCount val="1"/>
                <c:pt idx="0">
                  <c:v>消费</c:v>
                </c:pt>
              </c:strCache>
            </c:strRef>
          </c:tx>
          <c:spPr>
            <a:ln w="28575" cap="rnd">
              <a:solidFill>
                <a:srgbClr val="DCB464"/>
              </a:solidFill>
              <a:round/>
            </a:ln>
            <a:effectLst/>
          </c:spPr>
          <c:marker>
            <c:symbol val="none"/>
          </c:marker>
          <c:cat>
            <c:numRef>
              <c:f>'指数合成-1.0'!$DC$165:$DC$379</c:f>
              <c:numCache>
                <c:formatCode>yyyy\-mm\-dd</c:formatCode>
                <c:ptCount val="215"/>
                <c:pt idx="0">
                  <c:v>44561</c:v>
                </c:pt>
                <c:pt idx="1">
                  <c:v>44568</c:v>
                </c:pt>
                <c:pt idx="2">
                  <c:v>44575</c:v>
                </c:pt>
                <c:pt idx="3">
                  <c:v>44582</c:v>
                </c:pt>
                <c:pt idx="4">
                  <c:v>44589</c:v>
                </c:pt>
                <c:pt idx="5">
                  <c:v>44596</c:v>
                </c:pt>
                <c:pt idx="6">
                  <c:v>44603</c:v>
                </c:pt>
                <c:pt idx="7">
                  <c:v>44610</c:v>
                </c:pt>
                <c:pt idx="8">
                  <c:v>44617</c:v>
                </c:pt>
                <c:pt idx="9">
                  <c:v>44624</c:v>
                </c:pt>
                <c:pt idx="10">
                  <c:v>44631</c:v>
                </c:pt>
                <c:pt idx="11">
                  <c:v>44638</c:v>
                </c:pt>
                <c:pt idx="12">
                  <c:v>44645</c:v>
                </c:pt>
                <c:pt idx="13">
                  <c:v>44652</c:v>
                </c:pt>
                <c:pt idx="14">
                  <c:v>44659</c:v>
                </c:pt>
                <c:pt idx="15">
                  <c:v>44666</c:v>
                </c:pt>
                <c:pt idx="16">
                  <c:v>44673</c:v>
                </c:pt>
                <c:pt idx="17">
                  <c:v>44680</c:v>
                </c:pt>
                <c:pt idx="18">
                  <c:v>44687</c:v>
                </c:pt>
                <c:pt idx="19">
                  <c:v>44694</c:v>
                </c:pt>
                <c:pt idx="20">
                  <c:v>44701</c:v>
                </c:pt>
                <c:pt idx="21">
                  <c:v>44708</c:v>
                </c:pt>
                <c:pt idx="22">
                  <c:v>44715</c:v>
                </c:pt>
                <c:pt idx="23">
                  <c:v>44722</c:v>
                </c:pt>
                <c:pt idx="24">
                  <c:v>44729</c:v>
                </c:pt>
                <c:pt idx="25">
                  <c:v>44736</c:v>
                </c:pt>
                <c:pt idx="26">
                  <c:v>44743</c:v>
                </c:pt>
                <c:pt idx="27">
                  <c:v>44750</c:v>
                </c:pt>
                <c:pt idx="28">
                  <c:v>44757</c:v>
                </c:pt>
                <c:pt idx="29">
                  <c:v>44764</c:v>
                </c:pt>
                <c:pt idx="30">
                  <c:v>44771</c:v>
                </c:pt>
                <c:pt idx="31">
                  <c:v>44778</c:v>
                </c:pt>
                <c:pt idx="32">
                  <c:v>44785</c:v>
                </c:pt>
                <c:pt idx="33">
                  <c:v>44792</c:v>
                </c:pt>
                <c:pt idx="34">
                  <c:v>44799</c:v>
                </c:pt>
                <c:pt idx="35">
                  <c:v>44806</c:v>
                </c:pt>
                <c:pt idx="36">
                  <c:v>44813</c:v>
                </c:pt>
                <c:pt idx="37">
                  <c:v>44820</c:v>
                </c:pt>
                <c:pt idx="38">
                  <c:v>44827</c:v>
                </c:pt>
                <c:pt idx="39">
                  <c:v>44834</c:v>
                </c:pt>
                <c:pt idx="40">
                  <c:v>44841</c:v>
                </c:pt>
                <c:pt idx="41">
                  <c:v>44848</c:v>
                </c:pt>
                <c:pt idx="42">
                  <c:v>44855</c:v>
                </c:pt>
                <c:pt idx="43">
                  <c:v>44862</c:v>
                </c:pt>
                <c:pt idx="44">
                  <c:v>44869</c:v>
                </c:pt>
                <c:pt idx="45">
                  <c:v>44876</c:v>
                </c:pt>
                <c:pt idx="46">
                  <c:v>44883</c:v>
                </c:pt>
                <c:pt idx="47">
                  <c:v>44890</c:v>
                </c:pt>
                <c:pt idx="48">
                  <c:v>44897</c:v>
                </c:pt>
                <c:pt idx="49">
                  <c:v>44904</c:v>
                </c:pt>
                <c:pt idx="50">
                  <c:v>44911</c:v>
                </c:pt>
                <c:pt idx="51">
                  <c:v>44918</c:v>
                </c:pt>
                <c:pt idx="52">
                  <c:v>44925</c:v>
                </c:pt>
                <c:pt idx="53">
                  <c:v>44932</c:v>
                </c:pt>
                <c:pt idx="54">
                  <c:v>44939</c:v>
                </c:pt>
                <c:pt idx="55">
                  <c:v>44946</c:v>
                </c:pt>
                <c:pt idx="56">
                  <c:v>44953</c:v>
                </c:pt>
                <c:pt idx="57">
                  <c:v>44960</c:v>
                </c:pt>
                <c:pt idx="58">
                  <c:v>44967</c:v>
                </c:pt>
                <c:pt idx="59">
                  <c:v>44974</c:v>
                </c:pt>
                <c:pt idx="60">
                  <c:v>44981</c:v>
                </c:pt>
                <c:pt idx="61">
                  <c:v>44988</c:v>
                </c:pt>
                <c:pt idx="62">
                  <c:v>44995</c:v>
                </c:pt>
                <c:pt idx="63">
                  <c:v>45002</c:v>
                </c:pt>
                <c:pt idx="64">
                  <c:v>45009</c:v>
                </c:pt>
                <c:pt idx="65">
                  <c:v>45016</c:v>
                </c:pt>
                <c:pt idx="66">
                  <c:v>45023</c:v>
                </c:pt>
                <c:pt idx="67">
                  <c:v>45030</c:v>
                </c:pt>
                <c:pt idx="68">
                  <c:v>45037</c:v>
                </c:pt>
                <c:pt idx="69">
                  <c:v>45044</c:v>
                </c:pt>
                <c:pt idx="70">
                  <c:v>45051</c:v>
                </c:pt>
                <c:pt idx="71">
                  <c:v>45058</c:v>
                </c:pt>
                <c:pt idx="72">
                  <c:v>45065</c:v>
                </c:pt>
                <c:pt idx="73">
                  <c:v>45072</c:v>
                </c:pt>
                <c:pt idx="74">
                  <c:v>45079</c:v>
                </c:pt>
                <c:pt idx="75">
                  <c:v>45086</c:v>
                </c:pt>
                <c:pt idx="76">
                  <c:v>45093</c:v>
                </c:pt>
                <c:pt idx="77">
                  <c:v>45100</c:v>
                </c:pt>
                <c:pt idx="78">
                  <c:v>45107</c:v>
                </c:pt>
                <c:pt idx="79">
                  <c:v>45114</c:v>
                </c:pt>
                <c:pt idx="80">
                  <c:v>45121</c:v>
                </c:pt>
                <c:pt idx="81">
                  <c:v>45128</c:v>
                </c:pt>
                <c:pt idx="82">
                  <c:v>45135</c:v>
                </c:pt>
                <c:pt idx="83">
                  <c:v>45142</c:v>
                </c:pt>
                <c:pt idx="84">
                  <c:v>45149</c:v>
                </c:pt>
                <c:pt idx="85">
                  <c:v>45156</c:v>
                </c:pt>
                <c:pt idx="86">
                  <c:v>45163</c:v>
                </c:pt>
                <c:pt idx="87">
                  <c:v>45170</c:v>
                </c:pt>
                <c:pt idx="88">
                  <c:v>45177</c:v>
                </c:pt>
                <c:pt idx="89">
                  <c:v>45184</c:v>
                </c:pt>
                <c:pt idx="90">
                  <c:v>45191</c:v>
                </c:pt>
                <c:pt idx="91">
                  <c:v>45198</c:v>
                </c:pt>
                <c:pt idx="92">
                  <c:v>45205</c:v>
                </c:pt>
                <c:pt idx="93">
                  <c:v>45212</c:v>
                </c:pt>
                <c:pt idx="94">
                  <c:v>45219</c:v>
                </c:pt>
                <c:pt idx="95">
                  <c:v>45226</c:v>
                </c:pt>
                <c:pt idx="96">
                  <c:v>45233</c:v>
                </c:pt>
                <c:pt idx="97">
                  <c:v>45240</c:v>
                </c:pt>
                <c:pt idx="98">
                  <c:v>45247</c:v>
                </c:pt>
                <c:pt idx="99">
                  <c:v>45254</c:v>
                </c:pt>
                <c:pt idx="100">
                  <c:v>45261</c:v>
                </c:pt>
                <c:pt idx="101">
                  <c:v>45268</c:v>
                </c:pt>
                <c:pt idx="102">
                  <c:v>45275</c:v>
                </c:pt>
                <c:pt idx="103">
                  <c:v>45282</c:v>
                </c:pt>
                <c:pt idx="104">
                  <c:v>45289</c:v>
                </c:pt>
                <c:pt idx="105">
                  <c:v>45296</c:v>
                </c:pt>
                <c:pt idx="106">
                  <c:v>45303</c:v>
                </c:pt>
                <c:pt idx="107">
                  <c:v>45310</c:v>
                </c:pt>
                <c:pt idx="108">
                  <c:v>45317</c:v>
                </c:pt>
                <c:pt idx="109">
                  <c:v>45324</c:v>
                </c:pt>
                <c:pt idx="110">
                  <c:v>45331</c:v>
                </c:pt>
                <c:pt idx="111">
                  <c:v>45338</c:v>
                </c:pt>
                <c:pt idx="112">
                  <c:v>45345</c:v>
                </c:pt>
                <c:pt idx="113">
                  <c:v>45352</c:v>
                </c:pt>
                <c:pt idx="114">
                  <c:v>45359</c:v>
                </c:pt>
                <c:pt idx="115">
                  <c:v>45366</c:v>
                </c:pt>
                <c:pt idx="116">
                  <c:v>45373</c:v>
                </c:pt>
                <c:pt idx="117">
                  <c:v>45380</c:v>
                </c:pt>
                <c:pt idx="118">
                  <c:v>45387</c:v>
                </c:pt>
                <c:pt idx="119">
                  <c:v>45394</c:v>
                </c:pt>
                <c:pt idx="120">
                  <c:v>45401</c:v>
                </c:pt>
                <c:pt idx="121">
                  <c:v>45408</c:v>
                </c:pt>
                <c:pt idx="122">
                  <c:v>45415</c:v>
                </c:pt>
                <c:pt idx="123">
                  <c:v>45422</c:v>
                </c:pt>
                <c:pt idx="124">
                  <c:v>45429</c:v>
                </c:pt>
                <c:pt idx="125">
                  <c:v>45436</c:v>
                </c:pt>
                <c:pt idx="126">
                  <c:v>45443</c:v>
                </c:pt>
                <c:pt idx="127">
                  <c:v>45450</c:v>
                </c:pt>
                <c:pt idx="128">
                  <c:v>45457</c:v>
                </c:pt>
                <c:pt idx="129">
                  <c:v>45464</c:v>
                </c:pt>
                <c:pt idx="130">
                  <c:v>45471</c:v>
                </c:pt>
                <c:pt idx="131">
                  <c:v>45478</c:v>
                </c:pt>
                <c:pt idx="132">
                  <c:v>45485</c:v>
                </c:pt>
                <c:pt idx="133">
                  <c:v>45492</c:v>
                </c:pt>
                <c:pt idx="134">
                  <c:v>45499</c:v>
                </c:pt>
                <c:pt idx="135">
                  <c:v>45506</c:v>
                </c:pt>
                <c:pt idx="136">
                  <c:v>45513</c:v>
                </c:pt>
                <c:pt idx="137">
                  <c:v>45520</c:v>
                </c:pt>
                <c:pt idx="138">
                  <c:v>45527</c:v>
                </c:pt>
                <c:pt idx="139">
                  <c:v>45534</c:v>
                </c:pt>
                <c:pt idx="140">
                  <c:v>45541</c:v>
                </c:pt>
                <c:pt idx="141">
                  <c:v>45548</c:v>
                </c:pt>
                <c:pt idx="142">
                  <c:v>45555</c:v>
                </c:pt>
                <c:pt idx="143">
                  <c:v>45562</c:v>
                </c:pt>
                <c:pt idx="144">
                  <c:v>45569</c:v>
                </c:pt>
                <c:pt idx="145">
                  <c:v>45576</c:v>
                </c:pt>
                <c:pt idx="146">
                  <c:v>45583</c:v>
                </c:pt>
                <c:pt idx="147">
                  <c:v>45590</c:v>
                </c:pt>
                <c:pt idx="148">
                  <c:v>45597</c:v>
                </c:pt>
                <c:pt idx="149">
                  <c:v>45604</c:v>
                </c:pt>
                <c:pt idx="150">
                  <c:v>45611</c:v>
                </c:pt>
                <c:pt idx="151">
                  <c:v>45618</c:v>
                </c:pt>
                <c:pt idx="152">
                  <c:v>45625</c:v>
                </c:pt>
                <c:pt idx="153">
                  <c:v>45632</c:v>
                </c:pt>
                <c:pt idx="154">
                  <c:v>45639</c:v>
                </c:pt>
                <c:pt idx="155">
                  <c:v>45646</c:v>
                </c:pt>
                <c:pt idx="156">
                  <c:v>45653</c:v>
                </c:pt>
                <c:pt idx="157">
                  <c:v>45660</c:v>
                </c:pt>
                <c:pt idx="158">
                  <c:v>45667</c:v>
                </c:pt>
                <c:pt idx="159">
                  <c:v>45674</c:v>
                </c:pt>
                <c:pt idx="160">
                  <c:v>45681</c:v>
                </c:pt>
                <c:pt idx="161">
                  <c:v>45688</c:v>
                </c:pt>
                <c:pt idx="162">
                  <c:v>45695</c:v>
                </c:pt>
                <c:pt idx="163">
                  <c:v>45702</c:v>
                </c:pt>
                <c:pt idx="164">
                  <c:v>45709</c:v>
                </c:pt>
                <c:pt idx="165">
                  <c:v>45716</c:v>
                </c:pt>
                <c:pt idx="166">
                  <c:v>45723</c:v>
                </c:pt>
                <c:pt idx="167">
                  <c:v>45730</c:v>
                </c:pt>
                <c:pt idx="168">
                  <c:v>45737</c:v>
                </c:pt>
                <c:pt idx="169">
                  <c:v>45744</c:v>
                </c:pt>
                <c:pt idx="170">
                  <c:v>45751</c:v>
                </c:pt>
                <c:pt idx="171">
                  <c:v>45758</c:v>
                </c:pt>
                <c:pt idx="172">
                  <c:v>45765</c:v>
                </c:pt>
                <c:pt idx="173">
                  <c:v>45772</c:v>
                </c:pt>
                <c:pt idx="174">
                  <c:v>45779</c:v>
                </c:pt>
                <c:pt idx="175">
                  <c:v>45786</c:v>
                </c:pt>
                <c:pt idx="176">
                  <c:v>45793</c:v>
                </c:pt>
                <c:pt idx="177">
                  <c:v>45800</c:v>
                </c:pt>
                <c:pt idx="178">
                  <c:v>45807</c:v>
                </c:pt>
                <c:pt idx="179">
                  <c:v>45814</c:v>
                </c:pt>
                <c:pt idx="180">
                  <c:v>45821</c:v>
                </c:pt>
                <c:pt idx="181">
                  <c:v>45828</c:v>
                </c:pt>
                <c:pt idx="182">
                  <c:v>45835</c:v>
                </c:pt>
                <c:pt idx="183">
                  <c:v>45842</c:v>
                </c:pt>
                <c:pt idx="184">
                  <c:v>45849</c:v>
                </c:pt>
                <c:pt idx="185">
                  <c:v>45856</c:v>
                </c:pt>
                <c:pt idx="186">
                  <c:v>45863</c:v>
                </c:pt>
                <c:pt idx="187">
                  <c:v>45870</c:v>
                </c:pt>
                <c:pt idx="188">
                  <c:v>45877</c:v>
                </c:pt>
                <c:pt idx="189">
                  <c:v>45884</c:v>
                </c:pt>
                <c:pt idx="190">
                  <c:v>45891</c:v>
                </c:pt>
                <c:pt idx="191">
                  <c:v>45898</c:v>
                </c:pt>
                <c:pt idx="192">
                  <c:v>45905</c:v>
                </c:pt>
                <c:pt idx="193">
                  <c:v>45912</c:v>
                </c:pt>
                <c:pt idx="194">
                  <c:v>45919</c:v>
                </c:pt>
                <c:pt idx="195">
                  <c:v>45926</c:v>
                </c:pt>
                <c:pt idx="196">
                  <c:v>45933</c:v>
                </c:pt>
                <c:pt idx="197">
                  <c:v>45940</c:v>
                </c:pt>
                <c:pt idx="198">
                  <c:v>45947</c:v>
                </c:pt>
                <c:pt idx="199">
                  <c:v>45954</c:v>
                </c:pt>
                <c:pt idx="200">
                  <c:v>45961</c:v>
                </c:pt>
                <c:pt idx="201">
                  <c:v>45968</c:v>
                </c:pt>
                <c:pt idx="202">
                  <c:v>45975</c:v>
                </c:pt>
                <c:pt idx="203">
                  <c:v>45982</c:v>
                </c:pt>
                <c:pt idx="204">
                  <c:v>45989</c:v>
                </c:pt>
                <c:pt idx="205">
                  <c:v>45996</c:v>
                </c:pt>
              </c:numCache>
            </c:numRef>
          </c:cat>
          <c:val>
            <c:numRef>
              <c:f>'指数合成-1.0'!$DH$165:$DH$379</c:f>
              <c:numCache>
                <c:formatCode>0.0</c:formatCode>
                <c:ptCount val="215"/>
                <c:pt idx="0">
                  <c:v>-10.550957222542493</c:v>
                </c:pt>
                <c:pt idx="1">
                  <c:v>-10.097657858047626</c:v>
                </c:pt>
                <c:pt idx="2">
                  <c:v>-9.1781467415195692</c:v>
                </c:pt>
                <c:pt idx="3">
                  <c:v>-8.2746222829083251</c:v>
                </c:pt>
                <c:pt idx="4">
                  <c:v>-12.028567648759562</c:v>
                </c:pt>
                <c:pt idx="5">
                  <c:v>-9.8077613323031017</c:v>
                </c:pt>
                <c:pt idx="6">
                  <c:v>2.0137628476996099</c:v>
                </c:pt>
                <c:pt idx="7">
                  <c:v>4.214782819970921</c:v>
                </c:pt>
                <c:pt idx="8">
                  <c:v>9.6985720855362558</c:v>
                </c:pt>
                <c:pt idx="9">
                  <c:v>2.8064003066466512</c:v>
                </c:pt>
                <c:pt idx="10">
                  <c:v>-11.813924009187986</c:v>
                </c:pt>
                <c:pt idx="11">
                  <c:v>-21.988288051564766</c:v>
                </c:pt>
                <c:pt idx="12">
                  <c:v>-33.501988845526185</c:v>
                </c:pt>
                <c:pt idx="13">
                  <c:v>-40.129493604394092</c:v>
                </c:pt>
                <c:pt idx="14">
                  <c:v>-48.689625550641566</c:v>
                </c:pt>
                <c:pt idx="15">
                  <c:v>-54.774117343560711</c:v>
                </c:pt>
                <c:pt idx="16">
                  <c:v>-58.787198899829541</c:v>
                </c:pt>
                <c:pt idx="17">
                  <c:v>-60.876009528608137</c:v>
                </c:pt>
                <c:pt idx="18">
                  <c:v>-58.773873826001783</c:v>
                </c:pt>
                <c:pt idx="19">
                  <c:v>-54.768041620898501</c:v>
                </c:pt>
                <c:pt idx="20">
                  <c:v>-47.494678233590371</c:v>
                </c:pt>
                <c:pt idx="21">
                  <c:v>-45.390665603964067</c:v>
                </c:pt>
                <c:pt idx="22">
                  <c:v>-41.933115197331773</c:v>
                </c:pt>
                <c:pt idx="23">
                  <c:v>-38.005136811486494</c:v>
                </c:pt>
                <c:pt idx="24">
                  <c:v>-35.910981157948584</c:v>
                </c:pt>
                <c:pt idx="25">
                  <c:v>-32.699657310233633</c:v>
                </c:pt>
                <c:pt idx="26">
                  <c:v>-27.455618266702245</c:v>
                </c:pt>
                <c:pt idx="27">
                  <c:v>-27.572530998084261</c:v>
                </c:pt>
                <c:pt idx="28">
                  <c:v>-29.426213092414045</c:v>
                </c:pt>
                <c:pt idx="29">
                  <c:v>-31.030990798419595</c:v>
                </c:pt>
                <c:pt idx="30">
                  <c:v>-33.711740012649557</c:v>
                </c:pt>
                <c:pt idx="31">
                  <c:v>-29.577509405671947</c:v>
                </c:pt>
                <c:pt idx="32">
                  <c:v>-25.228516481108159</c:v>
                </c:pt>
                <c:pt idx="33">
                  <c:v>-18.375196634863258</c:v>
                </c:pt>
                <c:pt idx="34">
                  <c:v>-16.085234351146767</c:v>
                </c:pt>
                <c:pt idx="35">
                  <c:v>-19.327546653925154</c:v>
                </c:pt>
                <c:pt idx="36">
                  <c:v>-22.787036571321934</c:v>
                </c:pt>
                <c:pt idx="37">
                  <c:v>-28.022664446790984</c:v>
                </c:pt>
                <c:pt idx="38">
                  <c:v>-26.35639618736063</c:v>
                </c:pt>
                <c:pt idx="39">
                  <c:v>-21.079542134000377</c:v>
                </c:pt>
                <c:pt idx="40">
                  <c:v>-20.63192779526652</c:v>
                </c:pt>
                <c:pt idx="41">
                  <c:v>-18.477079698492204</c:v>
                </c:pt>
                <c:pt idx="42">
                  <c:v>-19.706569142167851</c:v>
                </c:pt>
                <c:pt idx="43">
                  <c:v>-22.017088091229795</c:v>
                </c:pt>
                <c:pt idx="44">
                  <c:v>-19.920278392977238</c:v>
                </c:pt>
                <c:pt idx="45">
                  <c:v>-21.7867257247418</c:v>
                </c:pt>
                <c:pt idx="46">
                  <c:v>-22.820014870206307</c:v>
                </c:pt>
                <c:pt idx="47">
                  <c:v>-27.838329320945164</c:v>
                </c:pt>
                <c:pt idx="48">
                  <c:v>-29.958071122500201</c:v>
                </c:pt>
                <c:pt idx="49">
                  <c:v>-32.115382027599793</c:v>
                </c:pt>
                <c:pt idx="50">
                  <c:v>-31.170510622206891</c:v>
                </c:pt>
                <c:pt idx="51">
                  <c:v>-28.502125637049019</c:v>
                </c:pt>
                <c:pt idx="52">
                  <c:v>-26.029908983638293</c:v>
                </c:pt>
                <c:pt idx="53">
                  <c:v>-24.70416156443747</c:v>
                </c:pt>
                <c:pt idx="54">
                  <c:v>-27.750435037887414</c:v>
                </c:pt>
                <c:pt idx="55">
                  <c:v>-31.454452178166378</c:v>
                </c:pt>
                <c:pt idx="56">
                  <c:v>-22.258190280327952</c:v>
                </c:pt>
                <c:pt idx="57">
                  <c:v>-8.3725872705116444</c:v>
                </c:pt>
                <c:pt idx="58">
                  <c:v>-0.80732234149198234</c:v>
                </c:pt>
                <c:pt idx="59">
                  <c:v>2.792955778509068</c:v>
                </c:pt>
                <c:pt idx="60">
                  <c:v>-9.1704977741351712</c:v>
                </c:pt>
                <c:pt idx="61">
                  <c:v>-16.202359355108257</c:v>
                </c:pt>
                <c:pt idx="62">
                  <c:v>-15.428305866054842</c:v>
                </c:pt>
                <c:pt idx="63">
                  <c:v>-5.3388277495348291</c:v>
                </c:pt>
                <c:pt idx="64">
                  <c:v>13.841047699471318</c:v>
                </c:pt>
                <c:pt idx="65">
                  <c:v>36.960777562011373</c:v>
                </c:pt>
                <c:pt idx="66">
                  <c:v>64.447527514702358</c:v>
                </c:pt>
                <c:pt idx="67">
                  <c:v>86.301438266204599</c:v>
                </c:pt>
                <c:pt idx="68">
                  <c:v>98.884864884768945</c:v>
                </c:pt>
                <c:pt idx="69">
                  <c:v>99.093862691875984</c:v>
                </c:pt>
                <c:pt idx="70">
                  <c:v>90.020881840092443</c:v>
                </c:pt>
                <c:pt idx="71">
                  <c:v>73.201402661018165</c:v>
                </c:pt>
                <c:pt idx="72">
                  <c:v>50.849739027132728</c:v>
                </c:pt>
                <c:pt idx="73">
                  <c:v>41.378784809745497</c:v>
                </c:pt>
                <c:pt idx="74">
                  <c:v>34.248307414689521</c:v>
                </c:pt>
                <c:pt idx="75">
                  <c:v>27.893116161689207</c:v>
                </c:pt>
                <c:pt idx="76">
                  <c:v>25.873812259377814</c:v>
                </c:pt>
                <c:pt idx="77">
                  <c:v>26.142865309830782</c:v>
                </c:pt>
                <c:pt idx="78">
                  <c:v>24.498882799449547</c:v>
                </c:pt>
                <c:pt idx="79">
                  <c:v>26.36134817372799</c:v>
                </c:pt>
                <c:pt idx="80">
                  <c:v>30.982766232103955</c:v>
                </c:pt>
                <c:pt idx="81">
                  <c:v>32.656415825296619</c:v>
                </c:pt>
                <c:pt idx="82">
                  <c:v>31.10846475484189</c:v>
                </c:pt>
                <c:pt idx="83">
                  <c:v>26.125710331765987</c:v>
                </c:pt>
                <c:pt idx="84">
                  <c:v>28.79453485179161</c:v>
                </c:pt>
                <c:pt idx="85">
                  <c:v>26.608660467914945</c:v>
                </c:pt>
                <c:pt idx="86">
                  <c:v>31.016147199230971</c:v>
                </c:pt>
                <c:pt idx="87">
                  <c:v>40.737905356737144</c:v>
                </c:pt>
                <c:pt idx="88">
                  <c:v>38.530724184901601</c:v>
                </c:pt>
                <c:pt idx="89">
                  <c:v>40.292250390891297</c:v>
                </c:pt>
                <c:pt idx="90">
                  <c:v>35.436049878147486</c:v>
                </c:pt>
                <c:pt idx="91">
                  <c:v>26.61577683455873</c:v>
                </c:pt>
                <c:pt idx="92">
                  <c:v>30.283274487594838</c:v>
                </c:pt>
                <c:pt idx="93">
                  <c:v>29.014231092502399</c:v>
                </c:pt>
                <c:pt idx="94">
                  <c:v>30.843567055364588</c:v>
                </c:pt>
                <c:pt idx="95">
                  <c:v>30.982059743573046</c:v>
                </c:pt>
                <c:pt idx="96">
                  <c:v>25.453672818342582</c:v>
                </c:pt>
                <c:pt idx="97">
                  <c:v>29.393728180184326</c:v>
                </c:pt>
                <c:pt idx="98">
                  <c:v>29.800538197081607</c:v>
                </c:pt>
                <c:pt idx="99">
                  <c:v>35.39799585056241</c:v>
                </c:pt>
                <c:pt idx="100">
                  <c:v>43.997459325480662</c:v>
                </c:pt>
                <c:pt idx="101">
                  <c:v>50.205659074866503</c:v>
                </c:pt>
                <c:pt idx="102">
                  <c:v>49.235434969637708</c:v>
                </c:pt>
                <c:pt idx="103">
                  <c:v>48.780650825326376</c:v>
                </c:pt>
                <c:pt idx="104">
                  <c:v>40.606349073103701</c:v>
                </c:pt>
                <c:pt idx="105">
                  <c:v>40.980399997605559</c:v>
                </c:pt>
                <c:pt idx="106">
                  <c:v>47.159318612111747</c:v>
                </c:pt>
                <c:pt idx="107">
                  <c:v>58.732526131495234</c:v>
                </c:pt>
                <c:pt idx="108">
                  <c:v>49.960690691348134</c:v>
                </c:pt>
                <c:pt idx="109">
                  <c:v>28.268547572846558</c:v>
                </c:pt>
                <c:pt idx="110">
                  <c:v>6.4601029794083331</c:v>
                </c:pt>
                <c:pt idx="111">
                  <c:v>-1.2019857930837077</c:v>
                </c:pt>
                <c:pt idx="112">
                  <c:v>-1.6998264534261835</c:v>
                </c:pt>
                <c:pt idx="113">
                  <c:v>4.2894526810811442</c:v>
                </c:pt>
                <c:pt idx="114">
                  <c:v>16.361671962248252</c:v>
                </c:pt>
                <c:pt idx="115">
                  <c:v>12.037530448843953</c:v>
                </c:pt>
                <c:pt idx="116">
                  <c:v>11.706566363352522</c:v>
                </c:pt>
                <c:pt idx="117">
                  <c:v>5.8629468082481253</c:v>
                </c:pt>
                <c:pt idx="118">
                  <c:v>4.1541217492618898</c:v>
                </c:pt>
                <c:pt idx="119">
                  <c:v>1.9835869714464422</c:v>
                </c:pt>
                <c:pt idx="120">
                  <c:v>2.0390312640791137</c:v>
                </c:pt>
                <c:pt idx="121">
                  <c:v>5.922325609332276</c:v>
                </c:pt>
                <c:pt idx="122">
                  <c:v>7.2485817645395514</c:v>
                </c:pt>
                <c:pt idx="123">
                  <c:v>11.293061824931286</c:v>
                </c:pt>
                <c:pt idx="124">
                  <c:v>9.9340760702762481</c:v>
                </c:pt>
                <c:pt idx="125">
                  <c:v>6.1266557206073315</c:v>
                </c:pt>
                <c:pt idx="126">
                  <c:v>3.2038176155572557</c:v>
                </c:pt>
                <c:pt idx="127">
                  <c:v>-0.82162108638834752</c:v>
                </c:pt>
                <c:pt idx="128">
                  <c:v>0.13866784655749598</c:v>
                </c:pt>
                <c:pt idx="129">
                  <c:v>1.1106456607174522</c:v>
                </c:pt>
                <c:pt idx="130">
                  <c:v>-3.8175308429401724</c:v>
                </c:pt>
                <c:pt idx="131">
                  <c:v>-4.7106849202860133</c:v>
                </c:pt>
                <c:pt idx="132">
                  <c:v>-8.1146110481734439</c:v>
                </c:pt>
                <c:pt idx="133">
                  <c:v>-8.9965507220047414</c:v>
                </c:pt>
                <c:pt idx="134">
                  <c:v>-7.1972830511569441</c:v>
                </c:pt>
                <c:pt idx="135">
                  <c:v>-4.7107238819488799</c:v>
                </c:pt>
                <c:pt idx="136">
                  <c:v>-5.929352370518032</c:v>
                </c:pt>
                <c:pt idx="137">
                  <c:v>-8.2194041709438466</c:v>
                </c:pt>
                <c:pt idx="138">
                  <c:v>-8.226270175261746</c:v>
                </c:pt>
                <c:pt idx="139">
                  <c:v>-9.1330844642150453</c:v>
                </c:pt>
                <c:pt idx="140">
                  <c:v>-3.0848526745566858</c:v>
                </c:pt>
                <c:pt idx="141">
                  <c:v>2.1222707244656078</c:v>
                </c:pt>
                <c:pt idx="142">
                  <c:v>4.063376404434436</c:v>
                </c:pt>
                <c:pt idx="143">
                  <c:v>3.2077546238016339</c:v>
                </c:pt>
                <c:pt idx="144">
                  <c:v>-7.849406455937924E-2</c:v>
                </c:pt>
                <c:pt idx="145">
                  <c:v>0.6450639936567768</c:v>
                </c:pt>
                <c:pt idx="146">
                  <c:v>1.0167931006152884</c:v>
                </c:pt>
                <c:pt idx="147">
                  <c:v>2.590361966364128</c:v>
                </c:pt>
                <c:pt idx="148">
                  <c:v>7.6554990017030349</c:v>
                </c:pt>
                <c:pt idx="149">
                  <c:v>6.2800932836901495</c:v>
                </c:pt>
                <c:pt idx="150">
                  <c:v>6.0169756218405155</c:v>
                </c:pt>
                <c:pt idx="151">
                  <c:v>6.7587986847416772</c:v>
                </c:pt>
                <c:pt idx="152">
                  <c:v>1.4494834986915635</c:v>
                </c:pt>
                <c:pt idx="153">
                  <c:v>0.38323166947238008</c:v>
                </c:pt>
                <c:pt idx="154">
                  <c:v>0.3985655427178898</c:v>
                </c:pt>
                <c:pt idx="155">
                  <c:v>-1.1224009340799199</c:v>
                </c:pt>
                <c:pt idx="156">
                  <c:v>-1.4518946663787631</c:v>
                </c:pt>
                <c:pt idx="157">
                  <c:v>-2.1858445368402641</c:v>
                </c:pt>
                <c:pt idx="158">
                  <c:v>-2.5430889399256671</c:v>
                </c:pt>
                <c:pt idx="159">
                  <c:v>-1.4121303073288942</c:v>
                </c:pt>
                <c:pt idx="160">
                  <c:v>-2.2554207086351425</c:v>
                </c:pt>
                <c:pt idx="161">
                  <c:v>1.8143693402239904</c:v>
                </c:pt>
                <c:pt idx="162">
                  <c:v>17.993887539769602</c:v>
                </c:pt>
                <c:pt idx="163">
                  <c:v>18.106472962152083</c:v>
                </c:pt>
                <c:pt idx="164">
                  <c:v>26.529036682046609</c:v>
                </c:pt>
                <c:pt idx="165">
                  <c:v>24.490771951232588</c:v>
                </c:pt>
                <c:pt idx="166">
                  <c:v>9.6327804308735381</c:v>
                </c:pt>
                <c:pt idx="167">
                  <c:v>10.317434857304946</c:v>
                </c:pt>
                <c:pt idx="168">
                  <c:v>4.7206166444873361</c:v>
                </c:pt>
                <c:pt idx="169">
                  <c:v>2.1472144064627656</c:v>
                </c:pt>
                <c:pt idx="170">
                  <c:v>1.9350291807867137</c:v>
                </c:pt>
                <c:pt idx="171">
                  <c:v>2.0204658612569659</c:v>
                </c:pt>
                <c:pt idx="172">
                  <c:v>2.7947004232133708</c:v>
                </c:pt>
                <c:pt idx="173">
                  <c:v>1.909833275430131</c:v>
                </c:pt>
                <c:pt idx="174">
                  <c:v>0.79143484039488499</c:v>
                </c:pt>
                <c:pt idx="175">
                  <c:v>0.58792555532811264</c:v>
                </c:pt>
                <c:pt idx="176">
                  <c:v>2.5807750084521359</c:v>
                </c:pt>
                <c:pt idx="177">
                  <c:v>5.8792538019584413</c:v>
                </c:pt>
                <c:pt idx="178">
                  <c:v>7.9565935097126328</c:v>
                </c:pt>
                <c:pt idx="179">
                  <c:v>9.6076266760236564</c:v>
                </c:pt>
                <c:pt idx="180">
                  <c:v>7.4526421026808691</c:v>
                </c:pt>
                <c:pt idx="181">
                  <c:v>8.639730469751413</c:v>
                </c:pt>
                <c:pt idx="182">
                  <c:v>9.0697640052976141</c:v>
                </c:pt>
                <c:pt idx="183">
                  <c:v>7.770581123966025</c:v>
                </c:pt>
                <c:pt idx="184">
                  <c:v>8.0775797736031905</c:v>
                </c:pt>
                <c:pt idx="185">
                  <c:v>4.3731291869658691</c:v>
                </c:pt>
                <c:pt idx="186">
                  <c:v>2.1398535582279408</c:v>
                </c:pt>
                <c:pt idx="187">
                  <c:v>1.6308599586409827</c:v>
                </c:pt>
                <c:pt idx="188">
                  <c:v>2.1655225865130774</c:v>
                </c:pt>
                <c:pt idx="189">
                  <c:v>4.8363994860545603</c:v>
                </c:pt>
                <c:pt idx="190">
                  <c:v>6.2207360702153096</c:v>
                </c:pt>
                <c:pt idx="191">
                  <c:v>5.7679847851353117</c:v>
                </c:pt>
                <c:pt idx="192">
                  <c:v>4.5417966939283616</c:v>
                </c:pt>
                <c:pt idx="193">
                  <c:v>2.2964967560824334E-2</c:v>
                </c:pt>
                <c:pt idx="194">
                  <c:v>-1.8736971517166268</c:v>
                </c:pt>
                <c:pt idx="195">
                  <c:v>-4.56350222437311</c:v>
                </c:pt>
                <c:pt idx="196">
                  <c:v>-4.3982552108446669</c:v>
                </c:pt>
                <c:pt idx="197">
                  <c:v>-4.2566345676245021</c:v>
                </c:pt>
                <c:pt idx="198">
                  <c:v>-4.5086468436007578</c:v>
                </c:pt>
                <c:pt idx="199">
                  <c:v>-3.6582281723344749</c:v>
                </c:pt>
                <c:pt idx="200">
                  <c:v>-2.7970567843882463</c:v>
                </c:pt>
                <c:pt idx="201">
                  <c:v>-1.2514372357470478</c:v>
                </c:pt>
                <c:pt idx="202">
                  <c:v>0.3814900258793017</c:v>
                </c:pt>
                <c:pt idx="203">
                  <c:v>2.0549178477782704</c:v>
                </c:pt>
                <c:pt idx="204">
                  <c:v>1.4759512221220064</c:v>
                </c:pt>
                <c:pt idx="205">
                  <c:v>8.0028783814708078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8A58-4F01-8B01-E4328FD82A9F}"/>
            </c:ext>
          </c:extLst>
        </c:ser>
        <c:ser>
          <c:idx val="5"/>
          <c:order val="4"/>
          <c:tx>
            <c:strRef>
              <c:f>'指数合成-1.0'!$DI$8</c:f>
              <c:strCache>
                <c:ptCount val="1"/>
                <c:pt idx="0">
                  <c:v>投资</c:v>
                </c:pt>
              </c:strCache>
            </c:strRef>
          </c:tx>
          <c:spPr>
            <a:ln w="28575" cap="rnd">
              <a:solidFill>
                <a:sysClr val="windowText" lastClr="000000">
                  <a:lumMod val="50000"/>
                  <a:lumOff val="50000"/>
                </a:sysClr>
              </a:solidFill>
              <a:round/>
            </a:ln>
            <a:effectLst/>
          </c:spPr>
          <c:marker>
            <c:symbol val="none"/>
          </c:marker>
          <c:cat>
            <c:numRef>
              <c:f>'指数合成-1.0'!$DC$165:$DC$379</c:f>
              <c:numCache>
                <c:formatCode>yyyy\-mm\-dd</c:formatCode>
                <c:ptCount val="215"/>
                <c:pt idx="0">
                  <c:v>44561</c:v>
                </c:pt>
                <c:pt idx="1">
                  <c:v>44568</c:v>
                </c:pt>
                <c:pt idx="2">
                  <c:v>44575</c:v>
                </c:pt>
                <c:pt idx="3">
                  <c:v>44582</c:v>
                </c:pt>
                <c:pt idx="4">
                  <c:v>44589</c:v>
                </c:pt>
                <c:pt idx="5">
                  <c:v>44596</c:v>
                </c:pt>
                <c:pt idx="6">
                  <c:v>44603</c:v>
                </c:pt>
                <c:pt idx="7">
                  <c:v>44610</c:v>
                </c:pt>
                <c:pt idx="8">
                  <c:v>44617</c:v>
                </c:pt>
                <c:pt idx="9">
                  <c:v>44624</c:v>
                </c:pt>
                <c:pt idx="10">
                  <c:v>44631</c:v>
                </c:pt>
                <c:pt idx="11">
                  <c:v>44638</c:v>
                </c:pt>
                <c:pt idx="12">
                  <c:v>44645</c:v>
                </c:pt>
                <c:pt idx="13">
                  <c:v>44652</c:v>
                </c:pt>
                <c:pt idx="14">
                  <c:v>44659</c:v>
                </c:pt>
                <c:pt idx="15">
                  <c:v>44666</c:v>
                </c:pt>
                <c:pt idx="16">
                  <c:v>44673</c:v>
                </c:pt>
                <c:pt idx="17">
                  <c:v>44680</c:v>
                </c:pt>
                <c:pt idx="18">
                  <c:v>44687</c:v>
                </c:pt>
                <c:pt idx="19">
                  <c:v>44694</c:v>
                </c:pt>
                <c:pt idx="20">
                  <c:v>44701</c:v>
                </c:pt>
                <c:pt idx="21">
                  <c:v>44708</c:v>
                </c:pt>
                <c:pt idx="22">
                  <c:v>44715</c:v>
                </c:pt>
                <c:pt idx="23">
                  <c:v>44722</c:v>
                </c:pt>
                <c:pt idx="24">
                  <c:v>44729</c:v>
                </c:pt>
                <c:pt idx="25">
                  <c:v>44736</c:v>
                </c:pt>
                <c:pt idx="26">
                  <c:v>44743</c:v>
                </c:pt>
                <c:pt idx="27">
                  <c:v>44750</c:v>
                </c:pt>
                <c:pt idx="28">
                  <c:v>44757</c:v>
                </c:pt>
                <c:pt idx="29">
                  <c:v>44764</c:v>
                </c:pt>
                <c:pt idx="30">
                  <c:v>44771</c:v>
                </c:pt>
                <c:pt idx="31">
                  <c:v>44778</c:v>
                </c:pt>
                <c:pt idx="32">
                  <c:v>44785</c:v>
                </c:pt>
                <c:pt idx="33">
                  <c:v>44792</c:v>
                </c:pt>
                <c:pt idx="34">
                  <c:v>44799</c:v>
                </c:pt>
                <c:pt idx="35">
                  <c:v>44806</c:v>
                </c:pt>
                <c:pt idx="36">
                  <c:v>44813</c:v>
                </c:pt>
                <c:pt idx="37">
                  <c:v>44820</c:v>
                </c:pt>
                <c:pt idx="38">
                  <c:v>44827</c:v>
                </c:pt>
                <c:pt idx="39">
                  <c:v>44834</c:v>
                </c:pt>
                <c:pt idx="40">
                  <c:v>44841</c:v>
                </c:pt>
                <c:pt idx="41">
                  <c:v>44848</c:v>
                </c:pt>
                <c:pt idx="42">
                  <c:v>44855</c:v>
                </c:pt>
                <c:pt idx="43">
                  <c:v>44862</c:v>
                </c:pt>
                <c:pt idx="44">
                  <c:v>44869</c:v>
                </c:pt>
                <c:pt idx="45">
                  <c:v>44876</c:v>
                </c:pt>
                <c:pt idx="46">
                  <c:v>44883</c:v>
                </c:pt>
                <c:pt idx="47">
                  <c:v>44890</c:v>
                </c:pt>
                <c:pt idx="48">
                  <c:v>44897</c:v>
                </c:pt>
                <c:pt idx="49">
                  <c:v>44904</c:v>
                </c:pt>
                <c:pt idx="50">
                  <c:v>44911</c:v>
                </c:pt>
                <c:pt idx="51">
                  <c:v>44918</c:v>
                </c:pt>
                <c:pt idx="52">
                  <c:v>44925</c:v>
                </c:pt>
                <c:pt idx="53">
                  <c:v>44932</c:v>
                </c:pt>
                <c:pt idx="54">
                  <c:v>44939</c:v>
                </c:pt>
                <c:pt idx="55">
                  <c:v>44946</c:v>
                </c:pt>
                <c:pt idx="56">
                  <c:v>44953</c:v>
                </c:pt>
                <c:pt idx="57">
                  <c:v>44960</c:v>
                </c:pt>
                <c:pt idx="58">
                  <c:v>44967</c:v>
                </c:pt>
                <c:pt idx="59">
                  <c:v>44974</c:v>
                </c:pt>
                <c:pt idx="60">
                  <c:v>44981</c:v>
                </c:pt>
                <c:pt idx="61">
                  <c:v>44988</c:v>
                </c:pt>
                <c:pt idx="62">
                  <c:v>44995</c:v>
                </c:pt>
                <c:pt idx="63">
                  <c:v>45002</c:v>
                </c:pt>
                <c:pt idx="64">
                  <c:v>45009</c:v>
                </c:pt>
                <c:pt idx="65">
                  <c:v>45016</c:v>
                </c:pt>
                <c:pt idx="66">
                  <c:v>45023</c:v>
                </c:pt>
                <c:pt idx="67">
                  <c:v>45030</c:v>
                </c:pt>
                <c:pt idx="68">
                  <c:v>45037</c:v>
                </c:pt>
                <c:pt idx="69">
                  <c:v>45044</c:v>
                </c:pt>
                <c:pt idx="70">
                  <c:v>45051</c:v>
                </c:pt>
                <c:pt idx="71">
                  <c:v>45058</c:v>
                </c:pt>
                <c:pt idx="72">
                  <c:v>45065</c:v>
                </c:pt>
                <c:pt idx="73">
                  <c:v>45072</c:v>
                </c:pt>
                <c:pt idx="74">
                  <c:v>45079</c:v>
                </c:pt>
                <c:pt idx="75">
                  <c:v>45086</c:v>
                </c:pt>
                <c:pt idx="76">
                  <c:v>45093</c:v>
                </c:pt>
                <c:pt idx="77">
                  <c:v>45100</c:v>
                </c:pt>
                <c:pt idx="78">
                  <c:v>45107</c:v>
                </c:pt>
                <c:pt idx="79">
                  <c:v>45114</c:v>
                </c:pt>
                <c:pt idx="80">
                  <c:v>45121</c:v>
                </c:pt>
                <c:pt idx="81">
                  <c:v>45128</c:v>
                </c:pt>
                <c:pt idx="82">
                  <c:v>45135</c:v>
                </c:pt>
                <c:pt idx="83">
                  <c:v>45142</c:v>
                </c:pt>
                <c:pt idx="84">
                  <c:v>45149</c:v>
                </c:pt>
                <c:pt idx="85">
                  <c:v>45156</c:v>
                </c:pt>
                <c:pt idx="86">
                  <c:v>45163</c:v>
                </c:pt>
                <c:pt idx="87">
                  <c:v>45170</c:v>
                </c:pt>
                <c:pt idx="88">
                  <c:v>45177</c:v>
                </c:pt>
                <c:pt idx="89">
                  <c:v>45184</c:v>
                </c:pt>
                <c:pt idx="90">
                  <c:v>45191</c:v>
                </c:pt>
                <c:pt idx="91">
                  <c:v>45198</c:v>
                </c:pt>
                <c:pt idx="92">
                  <c:v>45205</c:v>
                </c:pt>
                <c:pt idx="93">
                  <c:v>45212</c:v>
                </c:pt>
                <c:pt idx="94">
                  <c:v>45219</c:v>
                </c:pt>
                <c:pt idx="95">
                  <c:v>45226</c:v>
                </c:pt>
                <c:pt idx="96">
                  <c:v>45233</c:v>
                </c:pt>
                <c:pt idx="97">
                  <c:v>45240</c:v>
                </c:pt>
                <c:pt idx="98">
                  <c:v>45247</c:v>
                </c:pt>
                <c:pt idx="99">
                  <c:v>45254</c:v>
                </c:pt>
                <c:pt idx="100">
                  <c:v>45261</c:v>
                </c:pt>
                <c:pt idx="101">
                  <c:v>45268</c:v>
                </c:pt>
                <c:pt idx="102">
                  <c:v>45275</c:v>
                </c:pt>
                <c:pt idx="103">
                  <c:v>45282</c:v>
                </c:pt>
                <c:pt idx="104">
                  <c:v>45289</c:v>
                </c:pt>
                <c:pt idx="105">
                  <c:v>45296</c:v>
                </c:pt>
                <c:pt idx="106">
                  <c:v>45303</c:v>
                </c:pt>
                <c:pt idx="107">
                  <c:v>45310</c:v>
                </c:pt>
                <c:pt idx="108">
                  <c:v>45317</c:v>
                </c:pt>
                <c:pt idx="109">
                  <c:v>45324</c:v>
                </c:pt>
                <c:pt idx="110">
                  <c:v>45331</c:v>
                </c:pt>
                <c:pt idx="111">
                  <c:v>45338</c:v>
                </c:pt>
                <c:pt idx="112">
                  <c:v>45345</c:v>
                </c:pt>
                <c:pt idx="113">
                  <c:v>45352</c:v>
                </c:pt>
                <c:pt idx="114">
                  <c:v>45359</c:v>
                </c:pt>
                <c:pt idx="115">
                  <c:v>45366</c:v>
                </c:pt>
                <c:pt idx="116">
                  <c:v>45373</c:v>
                </c:pt>
                <c:pt idx="117">
                  <c:v>45380</c:v>
                </c:pt>
                <c:pt idx="118">
                  <c:v>45387</c:v>
                </c:pt>
                <c:pt idx="119">
                  <c:v>45394</c:v>
                </c:pt>
                <c:pt idx="120">
                  <c:v>45401</c:v>
                </c:pt>
                <c:pt idx="121">
                  <c:v>45408</c:v>
                </c:pt>
                <c:pt idx="122">
                  <c:v>45415</c:v>
                </c:pt>
                <c:pt idx="123">
                  <c:v>45422</c:v>
                </c:pt>
                <c:pt idx="124">
                  <c:v>45429</c:v>
                </c:pt>
                <c:pt idx="125">
                  <c:v>45436</c:v>
                </c:pt>
                <c:pt idx="126">
                  <c:v>45443</c:v>
                </c:pt>
                <c:pt idx="127">
                  <c:v>45450</c:v>
                </c:pt>
                <c:pt idx="128">
                  <c:v>45457</c:v>
                </c:pt>
                <c:pt idx="129">
                  <c:v>45464</c:v>
                </c:pt>
                <c:pt idx="130">
                  <c:v>45471</c:v>
                </c:pt>
                <c:pt idx="131">
                  <c:v>45478</c:v>
                </c:pt>
                <c:pt idx="132">
                  <c:v>45485</c:v>
                </c:pt>
                <c:pt idx="133">
                  <c:v>45492</c:v>
                </c:pt>
                <c:pt idx="134">
                  <c:v>45499</c:v>
                </c:pt>
                <c:pt idx="135">
                  <c:v>45506</c:v>
                </c:pt>
                <c:pt idx="136">
                  <c:v>45513</c:v>
                </c:pt>
                <c:pt idx="137">
                  <c:v>45520</c:v>
                </c:pt>
                <c:pt idx="138">
                  <c:v>45527</c:v>
                </c:pt>
                <c:pt idx="139">
                  <c:v>45534</c:v>
                </c:pt>
                <c:pt idx="140">
                  <c:v>45541</c:v>
                </c:pt>
                <c:pt idx="141">
                  <c:v>45548</c:v>
                </c:pt>
                <c:pt idx="142">
                  <c:v>45555</c:v>
                </c:pt>
                <c:pt idx="143">
                  <c:v>45562</c:v>
                </c:pt>
                <c:pt idx="144">
                  <c:v>45569</c:v>
                </c:pt>
                <c:pt idx="145">
                  <c:v>45576</c:v>
                </c:pt>
                <c:pt idx="146">
                  <c:v>45583</c:v>
                </c:pt>
                <c:pt idx="147">
                  <c:v>45590</c:v>
                </c:pt>
                <c:pt idx="148">
                  <c:v>45597</c:v>
                </c:pt>
                <c:pt idx="149">
                  <c:v>45604</c:v>
                </c:pt>
                <c:pt idx="150">
                  <c:v>45611</c:v>
                </c:pt>
                <c:pt idx="151">
                  <c:v>45618</c:v>
                </c:pt>
                <c:pt idx="152">
                  <c:v>45625</c:v>
                </c:pt>
                <c:pt idx="153">
                  <c:v>45632</c:v>
                </c:pt>
                <c:pt idx="154">
                  <c:v>45639</c:v>
                </c:pt>
                <c:pt idx="155">
                  <c:v>45646</c:v>
                </c:pt>
                <c:pt idx="156">
                  <c:v>45653</c:v>
                </c:pt>
                <c:pt idx="157">
                  <c:v>45660</c:v>
                </c:pt>
                <c:pt idx="158">
                  <c:v>45667</c:v>
                </c:pt>
                <c:pt idx="159">
                  <c:v>45674</c:v>
                </c:pt>
                <c:pt idx="160">
                  <c:v>45681</c:v>
                </c:pt>
                <c:pt idx="161">
                  <c:v>45688</c:v>
                </c:pt>
                <c:pt idx="162">
                  <c:v>45695</c:v>
                </c:pt>
                <c:pt idx="163">
                  <c:v>45702</c:v>
                </c:pt>
                <c:pt idx="164">
                  <c:v>45709</c:v>
                </c:pt>
                <c:pt idx="165">
                  <c:v>45716</c:v>
                </c:pt>
                <c:pt idx="166">
                  <c:v>45723</c:v>
                </c:pt>
                <c:pt idx="167">
                  <c:v>45730</c:v>
                </c:pt>
                <c:pt idx="168">
                  <c:v>45737</c:v>
                </c:pt>
                <c:pt idx="169">
                  <c:v>45744</c:v>
                </c:pt>
                <c:pt idx="170">
                  <c:v>45751</c:v>
                </c:pt>
                <c:pt idx="171">
                  <c:v>45758</c:v>
                </c:pt>
                <c:pt idx="172">
                  <c:v>45765</c:v>
                </c:pt>
                <c:pt idx="173">
                  <c:v>45772</c:v>
                </c:pt>
                <c:pt idx="174">
                  <c:v>45779</c:v>
                </c:pt>
                <c:pt idx="175">
                  <c:v>45786</c:v>
                </c:pt>
                <c:pt idx="176">
                  <c:v>45793</c:v>
                </c:pt>
                <c:pt idx="177">
                  <c:v>45800</c:v>
                </c:pt>
                <c:pt idx="178">
                  <c:v>45807</c:v>
                </c:pt>
                <c:pt idx="179">
                  <c:v>45814</c:v>
                </c:pt>
                <c:pt idx="180">
                  <c:v>45821</c:v>
                </c:pt>
                <c:pt idx="181">
                  <c:v>45828</c:v>
                </c:pt>
                <c:pt idx="182">
                  <c:v>45835</c:v>
                </c:pt>
                <c:pt idx="183">
                  <c:v>45842</c:v>
                </c:pt>
                <c:pt idx="184">
                  <c:v>45849</c:v>
                </c:pt>
                <c:pt idx="185">
                  <c:v>45856</c:v>
                </c:pt>
                <c:pt idx="186">
                  <c:v>45863</c:v>
                </c:pt>
                <c:pt idx="187">
                  <c:v>45870</c:v>
                </c:pt>
                <c:pt idx="188">
                  <c:v>45877</c:v>
                </c:pt>
                <c:pt idx="189">
                  <c:v>45884</c:v>
                </c:pt>
                <c:pt idx="190">
                  <c:v>45891</c:v>
                </c:pt>
                <c:pt idx="191">
                  <c:v>45898</c:v>
                </c:pt>
                <c:pt idx="192">
                  <c:v>45905</c:v>
                </c:pt>
                <c:pt idx="193">
                  <c:v>45912</c:v>
                </c:pt>
                <c:pt idx="194">
                  <c:v>45919</c:v>
                </c:pt>
                <c:pt idx="195">
                  <c:v>45926</c:v>
                </c:pt>
                <c:pt idx="196">
                  <c:v>45933</c:v>
                </c:pt>
                <c:pt idx="197">
                  <c:v>45940</c:v>
                </c:pt>
                <c:pt idx="198">
                  <c:v>45947</c:v>
                </c:pt>
                <c:pt idx="199">
                  <c:v>45954</c:v>
                </c:pt>
                <c:pt idx="200">
                  <c:v>45961</c:v>
                </c:pt>
                <c:pt idx="201">
                  <c:v>45968</c:v>
                </c:pt>
                <c:pt idx="202">
                  <c:v>45975</c:v>
                </c:pt>
                <c:pt idx="203">
                  <c:v>45982</c:v>
                </c:pt>
                <c:pt idx="204">
                  <c:v>45989</c:v>
                </c:pt>
                <c:pt idx="205">
                  <c:v>45996</c:v>
                </c:pt>
              </c:numCache>
            </c:numRef>
          </c:cat>
          <c:val>
            <c:numRef>
              <c:f>'指数合成-1.0'!$DI$165:$DI$379</c:f>
              <c:numCache>
                <c:formatCode>0.0</c:formatCode>
                <c:ptCount val="215"/>
                <c:pt idx="0">
                  <c:v>-16.431342956241636</c:v>
                </c:pt>
                <c:pt idx="1">
                  <c:v>-18.248707649501895</c:v>
                </c:pt>
                <c:pt idx="2">
                  <c:v>-20.657908121384878</c:v>
                </c:pt>
                <c:pt idx="3">
                  <c:v>-25.950020376103794</c:v>
                </c:pt>
                <c:pt idx="4">
                  <c:v>-36.090723221070895</c:v>
                </c:pt>
                <c:pt idx="5">
                  <c:v>-43.958166983870129</c:v>
                </c:pt>
                <c:pt idx="6">
                  <c:v>-52.012833105658601</c:v>
                </c:pt>
                <c:pt idx="7">
                  <c:v>-51.176532027529134</c:v>
                </c:pt>
                <c:pt idx="8">
                  <c:v>-35.444164241745938</c:v>
                </c:pt>
                <c:pt idx="9">
                  <c:v>-21.513516055541928</c:v>
                </c:pt>
                <c:pt idx="10">
                  <c:v>-16.234512458011835</c:v>
                </c:pt>
                <c:pt idx="11">
                  <c:v>-23.821357811722393</c:v>
                </c:pt>
                <c:pt idx="12">
                  <c:v>-28.888842721827189</c:v>
                </c:pt>
                <c:pt idx="13">
                  <c:v>-33.190815019149099</c:v>
                </c:pt>
                <c:pt idx="14">
                  <c:v>-39.232125896383984</c:v>
                </c:pt>
                <c:pt idx="15">
                  <c:v>-39.545283739787273</c:v>
                </c:pt>
                <c:pt idx="16">
                  <c:v>-39.156679569779854</c:v>
                </c:pt>
                <c:pt idx="17">
                  <c:v>-39.655533037603952</c:v>
                </c:pt>
                <c:pt idx="18">
                  <c:v>-38.253990303600929</c:v>
                </c:pt>
                <c:pt idx="19">
                  <c:v>-37.712028197798773</c:v>
                </c:pt>
                <c:pt idx="20">
                  <c:v>-37.245880459546868</c:v>
                </c:pt>
                <c:pt idx="21">
                  <c:v>-33.482829897618842</c:v>
                </c:pt>
                <c:pt idx="22">
                  <c:v>-30.386773807904461</c:v>
                </c:pt>
                <c:pt idx="23">
                  <c:v>-28.523915107907129</c:v>
                </c:pt>
                <c:pt idx="24">
                  <c:v>-24.993191381158141</c:v>
                </c:pt>
                <c:pt idx="25">
                  <c:v>-24.066742864738771</c:v>
                </c:pt>
                <c:pt idx="26">
                  <c:v>-18.74111955473083</c:v>
                </c:pt>
                <c:pt idx="27">
                  <c:v>-11.948859138331741</c:v>
                </c:pt>
                <c:pt idx="28">
                  <c:v>-9.5249956081842697</c:v>
                </c:pt>
                <c:pt idx="29">
                  <c:v>-5.9977745756406193</c:v>
                </c:pt>
                <c:pt idx="30">
                  <c:v>-5.5813716683108794</c:v>
                </c:pt>
                <c:pt idx="31">
                  <c:v>-7.2523120869213216</c:v>
                </c:pt>
                <c:pt idx="32">
                  <c:v>-7.9065725777250577</c:v>
                </c:pt>
                <c:pt idx="33">
                  <c:v>-8.9207445057144241</c:v>
                </c:pt>
                <c:pt idx="34">
                  <c:v>-11.361129258380259</c:v>
                </c:pt>
                <c:pt idx="35">
                  <c:v>-11.16659780455123</c:v>
                </c:pt>
                <c:pt idx="36">
                  <c:v>-9.1364211376494353</c:v>
                </c:pt>
                <c:pt idx="37">
                  <c:v>-7.8507473335042874</c:v>
                </c:pt>
                <c:pt idx="38">
                  <c:v>-3.4375712337272688</c:v>
                </c:pt>
                <c:pt idx="39">
                  <c:v>0.10403455491466218</c:v>
                </c:pt>
                <c:pt idx="40">
                  <c:v>-3.3720718560773122</c:v>
                </c:pt>
                <c:pt idx="41">
                  <c:v>-0.96745632419828098</c:v>
                </c:pt>
                <c:pt idx="42">
                  <c:v>-2.6752461147170692</c:v>
                </c:pt>
                <c:pt idx="43">
                  <c:v>-5.2242578984325405</c:v>
                </c:pt>
                <c:pt idx="44">
                  <c:v>-1.7846037324115116</c:v>
                </c:pt>
                <c:pt idx="45">
                  <c:v>-2.449538252393836</c:v>
                </c:pt>
                <c:pt idx="46">
                  <c:v>-1.9474409974780968</c:v>
                </c:pt>
                <c:pt idx="47">
                  <c:v>-3.2962287571699846</c:v>
                </c:pt>
                <c:pt idx="48">
                  <c:v>-5.3535417075613765</c:v>
                </c:pt>
                <c:pt idx="49">
                  <c:v>-7.2030514453526564</c:v>
                </c:pt>
                <c:pt idx="50">
                  <c:v>-9.6038142089380329</c:v>
                </c:pt>
                <c:pt idx="51">
                  <c:v>-12.062733318010928</c:v>
                </c:pt>
                <c:pt idx="52">
                  <c:v>-14.403961052491937</c:v>
                </c:pt>
                <c:pt idx="53">
                  <c:v>-17.697854801217133</c:v>
                </c:pt>
                <c:pt idx="54">
                  <c:v>-25.839213801368516</c:v>
                </c:pt>
                <c:pt idx="55">
                  <c:v>-36.06336252246691</c:v>
                </c:pt>
                <c:pt idx="56">
                  <c:v>-42.530789433191842</c:v>
                </c:pt>
                <c:pt idx="57">
                  <c:v>-43.720878890396342</c:v>
                </c:pt>
                <c:pt idx="58">
                  <c:v>-10.333093940885689</c:v>
                </c:pt>
                <c:pt idx="59">
                  <c:v>56.763132167128788</c:v>
                </c:pt>
                <c:pt idx="60">
                  <c:v>84.590688328896732</c:v>
                </c:pt>
                <c:pt idx="61">
                  <c:v>69.939194067733666</c:v>
                </c:pt>
                <c:pt idx="62">
                  <c:v>40.020193700783693</c:v>
                </c:pt>
                <c:pt idx="63">
                  <c:v>29.082732719054064</c:v>
                </c:pt>
                <c:pt idx="64">
                  <c:v>21.942211290824631</c:v>
                </c:pt>
                <c:pt idx="65">
                  <c:v>20.232286876290615</c:v>
                </c:pt>
                <c:pt idx="66">
                  <c:v>24.400812894719493</c:v>
                </c:pt>
                <c:pt idx="67">
                  <c:v>22.246753333676722</c:v>
                </c:pt>
                <c:pt idx="68">
                  <c:v>21.340545523572075</c:v>
                </c:pt>
                <c:pt idx="69">
                  <c:v>21.316303903231343</c:v>
                </c:pt>
                <c:pt idx="70">
                  <c:v>16.961129655774826</c:v>
                </c:pt>
                <c:pt idx="71">
                  <c:v>15.980671843614644</c:v>
                </c:pt>
                <c:pt idx="72">
                  <c:v>15.412857492133085</c:v>
                </c:pt>
                <c:pt idx="73">
                  <c:v>12.379345740878904</c:v>
                </c:pt>
                <c:pt idx="74">
                  <c:v>12.61987089364456</c:v>
                </c:pt>
                <c:pt idx="75">
                  <c:v>13.494607945418252</c:v>
                </c:pt>
                <c:pt idx="76">
                  <c:v>11.546855077659558</c:v>
                </c:pt>
                <c:pt idx="77">
                  <c:v>9.7400057918386835</c:v>
                </c:pt>
                <c:pt idx="78">
                  <c:v>5.2007461936529182</c:v>
                </c:pt>
                <c:pt idx="79">
                  <c:v>0.40963150640705237</c:v>
                </c:pt>
                <c:pt idx="80">
                  <c:v>-2.1869138492564844</c:v>
                </c:pt>
                <c:pt idx="81">
                  <c:v>-4.0768986364604132</c:v>
                </c:pt>
                <c:pt idx="82">
                  <c:v>-3.7842282605744799</c:v>
                </c:pt>
                <c:pt idx="83">
                  <c:v>-4.0325774053963812</c:v>
                </c:pt>
                <c:pt idx="84">
                  <c:v>-2.6685305099948096</c:v>
                </c:pt>
                <c:pt idx="85">
                  <c:v>1.1338832144872129</c:v>
                </c:pt>
                <c:pt idx="86">
                  <c:v>4.474165302809709</c:v>
                </c:pt>
                <c:pt idx="87">
                  <c:v>6.8839237438399294</c:v>
                </c:pt>
                <c:pt idx="88">
                  <c:v>8.7862990637143525</c:v>
                </c:pt>
                <c:pt idx="89">
                  <c:v>8.0247930718144289</c:v>
                </c:pt>
                <c:pt idx="90">
                  <c:v>4.3010989476471195</c:v>
                </c:pt>
                <c:pt idx="91">
                  <c:v>-0.99622766406680796</c:v>
                </c:pt>
                <c:pt idx="92">
                  <c:v>-4.300039068283894</c:v>
                </c:pt>
                <c:pt idx="93">
                  <c:v>-8.3916313927738315</c:v>
                </c:pt>
                <c:pt idx="94">
                  <c:v>-7.5671680547819591</c:v>
                </c:pt>
                <c:pt idx="95">
                  <c:v>-3.0661699275444221</c:v>
                </c:pt>
                <c:pt idx="96">
                  <c:v>-1.4098895743596955</c:v>
                </c:pt>
                <c:pt idx="97">
                  <c:v>-0.3490215265144343</c:v>
                </c:pt>
                <c:pt idx="98">
                  <c:v>-3.2155971604986746</c:v>
                </c:pt>
                <c:pt idx="99">
                  <c:v>-4.9199896792228515</c:v>
                </c:pt>
                <c:pt idx="100">
                  <c:v>-5.93835133029134</c:v>
                </c:pt>
                <c:pt idx="101">
                  <c:v>-4.8105136626695355</c:v>
                </c:pt>
                <c:pt idx="102">
                  <c:v>-2.2579498680694741</c:v>
                </c:pt>
                <c:pt idx="103">
                  <c:v>-1.4436550044130598</c:v>
                </c:pt>
                <c:pt idx="104">
                  <c:v>0.56127295201768845</c:v>
                </c:pt>
                <c:pt idx="105">
                  <c:v>4.5489327659135199</c:v>
                </c:pt>
                <c:pt idx="106">
                  <c:v>18.2414043854575</c:v>
                </c:pt>
                <c:pt idx="107">
                  <c:v>46.541201516269979</c:v>
                </c:pt>
                <c:pt idx="108">
                  <c:v>91.209998118998442</c:v>
                </c:pt>
                <c:pt idx="109">
                  <c:v>131.22055272532555</c:v>
                </c:pt>
                <c:pt idx="110">
                  <c:v>60.021920409839481</c:v>
                </c:pt>
                <c:pt idx="111">
                  <c:v>-22.088948264498612</c:v>
                </c:pt>
                <c:pt idx="112">
                  <c:v>-57.123045513677297</c:v>
                </c:pt>
                <c:pt idx="113">
                  <c:v>-63.705017320048448</c:v>
                </c:pt>
                <c:pt idx="114">
                  <c:v>-53.892013868760053</c:v>
                </c:pt>
                <c:pt idx="115">
                  <c:v>-38.486284297075912</c:v>
                </c:pt>
                <c:pt idx="116">
                  <c:v>-27.025179350786175</c:v>
                </c:pt>
                <c:pt idx="117">
                  <c:v>-20.326670288280553</c:v>
                </c:pt>
                <c:pt idx="118">
                  <c:v>-16.343112235317776</c:v>
                </c:pt>
                <c:pt idx="119">
                  <c:v>-14.620317679947604</c:v>
                </c:pt>
                <c:pt idx="120">
                  <c:v>-15.447289406962341</c:v>
                </c:pt>
                <c:pt idx="121">
                  <c:v>-16.711760972945768</c:v>
                </c:pt>
                <c:pt idx="122">
                  <c:v>-14.954468573242309</c:v>
                </c:pt>
                <c:pt idx="123">
                  <c:v>-17.54598455756387</c:v>
                </c:pt>
                <c:pt idx="124">
                  <c:v>-15.218315212240114</c:v>
                </c:pt>
                <c:pt idx="125">
                  <c:v>-12.501780429369603</c:v>
                </c:pt>
                <c:pt idx="126">
                  <c:v>-14.060396920604248</c:v>
                </c:pt>
                <c:pt idx="127">
                  <c:v>-12.570265072117891</c:v>
                </c:pt>
                <c:pt idx="128">
                  <c:v>-16.950636787711986</c:v>
                </c:pt>
                <c:pt idx="129">
                  <c:v>-20.064733945795496</c:v>
                </c:pt>
                <c:pt idx="130">
                  <c:v>-19.65626273315732</c:v>
                </c:pt>
                <c:pt idx="131">
                  <c:v>-19.241770811025987</c:v>
                </c:pt>
                <c:pt idx="132">
                  <c:v>-17.711215750489941</c:v>
                </c:pt>
                <c:pt idx="133">
                  <c:v>-17.610173030899219</c:v>
                </c:pt>
                <c:pt idx="134">
                  <c:v>-20.484870755948918</c:v>
                </c:pt>
                <c:pt idx="135">
                  <c:v>-22.246566758109594</c:v>
                </c:pt>
                <c:pt idx="136">
                  <c:v>-25.641739459284011</c:v>
                </c:pt>
                <c:pt idx="137">
                  <c:v>-28.482221356449671</c:v>
                </c:pt>
                <c:pt idx="138">
                  <c:v>-30.372261837478348</c:v>
                </c:pt>
                <c:pt idx="139">
                  <c:v>-30.526878513005187</c:v>
                </c:pt>
                <c:pt idx="140">
                  <c:v>-30.448690787660453</c:v>
                </c:pt>
                <c:pt idx="141">
                  <c:v>-29.289383061125875</c:v>
                </c:pt>
                <c:pt idx="142">
                  <c:v>-28.293563140948734</c:v>
                </c:pt>
                <c:pt idx="143">
                  <c:v>-26.996536093843687</c:v>
                </c:pt>
                <c:pt idx="144">
                  <c:v>-22.755670048550328</c:v>
                </c:pt>
                <c:pt idx="145">
                  <c:v>-21.201261361956853</c:v>
                </c:pt>
                <c:pt idx="146">
                  <c:v>-18.240691524390996</c:v>
                </c:pt>
                <c:pt idx="147">
                  <c:v>-17.627417054477633</c:v>
                </c:pt>
                <c:pt idx="148">
                  <c:v>-18.29689446564646</c:v>
                </c:pt>
                <c:pt idx="149">
                  <c:v>-17.163972854302443</c:v>
                </c:pt>
                <c:pt idx="150">
                  <c:v>-15.678129206432033</c:v>
                </c:pt>
                <c:pt idx="151">
                  <c:v>-13.91122031233688</c:v>
                </c:pt>
                <c:pt idx="152">
                  <c:v>-12.378617126709003</c:v>
                </c:pt>
                <c:pt idx="153">
                  <c:v>-11.35189708543723</c:v>
                </c:pt>
                <c:pt idx="154">
                  <c:v>-10.623746260913208</c:v>
                </c:pt>
                <c:pt idx="155">
                  <c:v>-7.57687149806344</c:v>
                </c:pt>
                <c:pt idx="156">
                  <c:v>-4.3322970053733769</c:v>
                </c:pt>
                <c:pt idx="157">
                  <c:v>-1.9065017848905512</c:v>
                </c:pt>
                <c:pt idx="158">
                  <c:v>-2.3002039710407871</c:v>
                </c:pt>
                <c:pt idx="159">
                  <c:v>-4.7618122835442591</c:v>
                </c:pt>
                <c:pt idx="160">
                  <c:v>-14.033230848717295</c:v>
                </c:pt>
                <c:pt idx="161">
                  <c:v>-24.604374627849865</c:v>
                </c:pt>
                <c:pt idx="162">
                  <c:v>-28.467362387815186</c:v>
                </c:pt>
                <c:pt idx="163">
                  <c:v>-9.6457481082675542</c:v>
                </c:pt>
                <c:pt idx="164">
                  <c:v>36.164385186526317</c:v>
                </c:pt>
                <c:pt idx="165">
                  <c:v>68.424126824878272</c:v>
                </c:pt>
                <c:pt idx="166">
                  <c:v>52.553905391851146</c:v>
                </c:pt>
                <c:pt idx="167">
                  <c:v>20.850187321991328</c:v>
                </c:pt>
                <c:pt idx="168">
                  <c:v>5.1442330894014106</c:v>
                </c:pt>
                <c:pt idx="169">
                  <c:v>-1.8707710581177253</c:v>
                </c:pt>
                <c:pt idx="170">
                  <c:v>-4.9716362295283147</c:v>
                </c:pt>
                <c:pt idx="171">
                  <c:v>-6.705865695706521</c:v>
                </c:pt>
                <c:pt idx="172">
                  <c:v>-5.4119352457713887</c:v>
                </c:pt>
                <c:pt idx="173">
                  <c:v>-2.7378494063373751</c:v>
                </c:pt>
                <c:pt idx="174">
                  <c:v>0.18542148190130092</c:v>
                </c:pt>
                <c:pt idx="175">
                  <c:v>0.79238419161285378</c:v>
                </c:pt>
                <c:pt idx="176">
                  <c:v>1.6158451396611326</c:v>
                </c:pt>
                <c:pt idx="177">
                  <c:v>7.2816534838594293E-2</c:v>
                </c:pt>
                <c:pt idx="178">
                  <c:v>-1.907694525926857</c:v>
                </c:pt>
                <c:pt idx="179">
                  <c:v>0.9998915191325608</c:v>
                </c:pt>
                <c:pt idx="180">
                  <c:v>4.1159280498293356</c:v>
                </c:pt>
                <c:pt idx="181">
                  <c:v>8.1806195011824911</c:v>
                </c:pt>
                <c:pt idx="182">
                  <c:v>10.278772507647574</c:v>
                </c:pt>
                <c:pt idx="183">
                  <c:v>9.9636888193983708</c:v>
                </c:pt>
                <c:pt idx="184">
                  <c:v>8.9956862897341523</c:v>
                </c:pt>
                <c:pt idx="185">
                  <c:v>9.1610078415610872</c:v>
                </c:pt>
                <c:pt idx="186">
                  <c:v>9.9684300457077342</c:v>
                </c:pt>
                <c:pt idx="187">
                  <c:v>11.389530588811979</c:v>
                </c:pt>
                <c:pt idx="188">
                  <c:v>12.411907104340656</c:v>
                </c:pt>
                <c:pt idx="189">
                  <c:v>12.12286103963929</c:v>
                </c:pt>
                <c:pt idx="190">
                  <c:v>12.581837221106909</c:v>
                </c:pt>
                <c:pt idx="191">
                  <c:v>9.6184835210448654</c:v>
                </c:pt>
                <c:pt idx="192">
                  <c:v>5.68467074982388</c:v>
                </c:pt>
                <c:pt idx="193">
                  <c:v>5.103622350142075</c:v>
                </c:pt>
                <c:pt idx="194">
                  <c:v>6.3370410774439989</c:v>
                </c:pt>
                <c:pt idx="195">
                  <c:v>9.9116306070352778</c:v>
                </c:pt>
                <c:pt idx="196">
                  <c:v>14.167631610153336</c:v>
                </c:pt>
                <c:pt idx="197">
                  <c:v>10.717476836903543</c:v>
                </c:pt>
                <c:pt idx="198">
                  <c:v>7.2891941770629103</c:v>
                </c:pt>
                <c:pt idx="199">
                  <c:v>3.0488651332940293</c:v>
                </c:pt>
                <c:pt idx="200">
                  <c:v>-0.24131211671620179</c:v>
                </c:pt>
                <c:pt idx="201">
                  <c:v>1.5213517008333781</c:v>
                </c:pt>
                <c:pt idx="202">
                  <c:v>0.13088550004394506</c:v>
                </c:pt>
                <c:pt idx="203">
                  <c:v>-2.3889307086620448</c:v>
                </c:pt>
                <c:pt idx="204">
                  <c:v>-3.7145999149429514</c:v>
                </c:pt>
                <c:pt idx="205">
                  <c:v>-4.4016549390870239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2-8A58-4F01-8B01-E4328FD82A9F}"/>
            </c:ext>
          </c:extLst>
        </c:ser>
        <c:ser>
          <c:idx val="6"/>
          <c:order val="5"/>
          <c:tx>
            <c:strRef>
              <c:f>'指数合成-1.0'!$DJ$8</c:f>
              <c:strCache>
                <c:ptCount val="1"/>
                <c:pt idx="0">
                  <c:v>出口</c:v>
                </c:pt>
              </c:strCache>
            </c:strRef>
          </c:tx>
          <c:spPr>
            <a:ln w="28575" cap="rnd">
              <a:solidFill>
                <a:sysClr val="window" lastClr="FFFFFF">
                  <a:lumMod val="75000"/>
                </a:sysClr>
              </a:solidFill>
              <a:round/>
            </a:ln>
            <a:effectLst/>
          </c:spPr>
          <c:marker>
            <c:symbol val="none"/>
          </c:marker>
          <c:cat>
            <c:numRef>
              <c:f>'指数合成-1.0'!$DC$165:$DC$379</c:f>
              <c:numCache>
                <c:formatCode>yyyy\-mm\-dd</c:formatCode>
                <c:ptCount val="215"/>
                <c:pt idx="0">
                  <c:v>44561</c:v>
                </c:pt>
                <c:pt idx="1">
                  <c:v>44568</c:v>
                </c:pt>
                <c:pt idx="2">
                  <c:v>44575</c:v>
                </c:pt>
                <c:pt idx="3">
                  <c:v>44582</c:v>
                </c:pt>
                <c:pt idx="4">
                  <c:v>44589</c:v>
                </c:pt>
                <c:pt idx="5">
                  <c:v>44596</c:v>
                </c:pt>
                <c:pt idx="6">
                  <c:v>44603</c:v>
                </c:pt>
                <c:pt idx="7">
                  <c:v>44610</c:v>
                </c:pt>
                <c:pt idx="8">
                  <c:v>44617</c:v>
                </c:pt>
                <c:pt idx="9">
                  <c:v>44624</c:v>
                </c:pt>
                <c:pt idx="10">
                  <c:v>44631</c:v>
                </c:pt>
                <c:pt idx="11">
                  <c:v>44638</c:v>
                </c:pt>
                <c:pt idx="12">
                  <c:v>44645</c:v>
                </c:pt>
                <c:pt idx="13">
                  <c:v>44652</c:v>
                </c:pt>
                <c:pt idx="14">
                  <c:v>44659</c:v>
                </c:pt>
                <c:pt idx="15">
                  <c:v>44666</c:v>
                </c:pt>
                <c:pt idx="16">
                  <c:v>44673</c:v>
                </c:pt>
                <c:pt idx="17">
                  <c:v>44680</c:v>
                </c:pt>
                <c:pt idx="18">
                  <c:v>44687</c:v>
                </c:pt>
                <c:pt idx="19">
                  <c:v>44694</c:v>
                </c:pt>
                <c:pt idx="20">
                  <c:v>44701</c:v>
                </c:pt>
                <c:pt idx="21">
                  <c:v>44708</c:v>
                </c:pt>
                <c:pt idx="22">
                  <c:v>44715</c:v>
                </c:pt>
                <c:pt idx="23">
                  <c:v>44722</c:v>
                </c:pt>
                <c:pt idx="24">
                  <c:v>44729</c:v>
                </c:pt>
                <c:pt idx="25">
                  <c:v>44736</c:v>
                </c:pt>
                <c:pt idx="26">
                  <c:v>44743</c:v>
                </c:pt>
                <c:pt idx="27">
                  <c:v>44750</c:v>
                </c:pt>
                <c:pt idx="28">
                  <c:v>44757</c:v>
                </c:pt>
                <c:pt idx="29">
                  <c:v>44764</c:v>
                </c:pt>
                <c:pt idx="30">
                  <c:v>44771</c:v>
                </c:pt>
                <c:pt idx="31">
                  <c:v>44778</c:v>
                </c:pt>
                <c:pt idx="32">
                  <c:v>44785</c:v>
                </c:pt>
                <c:pt idx="33">
                  <c:v>44792</c:v>
                </c:pt>
                <c:pt idx="34">
                  <c:v>44799</c:v>
                </c:pt>
                <c:pt idx="35">
                  <c:v>44806</c:v>
                </c:pt>
                <c:pt idx="36">
                  <c:v>44813</c:v>
                </c:pt>
                <c:pt idx="37">
                  <c:v>44820</c:v>
                </c:pt>
                <c:pt idx="38">
                  <c:v>44827</c:v>
                </c:pt>
                <c:pt idx="39">
                  <c:v>44834</c:v>
                </c:pt>
                <c:pt idx="40">
                  <c:v>44841</c:v>
                </c:pt>
                <c:pt idx="41">
                  <c:v>44848</c:v>
                </c:pt>
                <c:pt idx="42">
                  <c:v>44855</c:v>
                </c:pt>
                <c:pt idx="43">
                  <c:v>44862</c:v>
                </c:pt>
                <c:pt idx="44">
                  <c:v>44869</c:v>
                </c:pt>
                <c:pt idx="45">
                  <c:v>44876</c:v>
                </c:pt>
                <c:pt idx="46">
                  <c:v>44883</c:v>
                </c:pt>
                <c:pt idx="47">
                  <c:v>44890</c:v>
                </c:pt>
                <c:pt idx="48">
                  <c:v>44897</c:v>
                </c:pt>
                <c:pt idx="49">
                  <c:v>44904</c:v>
                </c:pt>
                <c:pt idx="50">
                  <c:v>44911</c:v>
                </c:pt>
                <c:pt idx="51">
                  <c:v>44918</c:v>
                </c:pt>
                <c:pt idx="52">
                  <c:v>44925</c:v>
                </c:pt>
                <c:pt idx="53">
                  <c:v>44932</c:v>
                </c:pt>
                <c:pt idx="54">
                  <c:v>44939</c:v>
                </c:pt>
                <c:pt idx="55">
                  <c:v>44946</c:v>
                </c:pt>
                <c:pt idx="56">
                  <c:v>44953</c:v>
                </c:pt>
                <c:pt idx="57">
                  <c:v>44960</c:v>
                </c:pt>
                <c:pt idx="58">
                  <c:v>44967</c:v>
                </c:pt>
                <c:pt idx="59">
                  <c:v>44974</c:v>
                </c:pt>
                <c:pt idx="60">
                  <c:v>44981</c:v>
                </c:pt>
                <c:pt idx="61">
                  <c:v>44988</c:v>
                </c:pt>
                <c:pt idx="62">
                  <c:v>44995</c:v>
                </c:pt>
                <c:pt idx="63">
                  <c:v>45002</c:v>
                </c:pt>
                <c:pt idx="64">
                  <c:v>45009</c:v>
                </c:pt>
                <c:pt idx="65">
                  <c:v>45016</c:v>
                </c:pt>
                <c:pt idx="66">
                  <c:v>45023</c:v>
                </c:pt>
                <c:pt idx="67">
                  <c:v>45030</c:v>
                </c:pt>
                <c:pt idx="68">
                  <c:v>45037</c:v>
                </c:pt>
                <c:pt idx="69">
                  <c:v>45044</c:v>
                </c:pt>
                <c:pt idx="70">
                  <c:v>45051</c:v>
                </c:pt>
                <c:pt idx="71">
                  <c:v>45058</c:v>
                </c:pt>
                <c:pt idx="72">
                  <c:v>45065</c:v>
                </c:pt>
                <c:pt idx="73">
                  <c:v>45072</c:v>
                </c:pt>
                <c:pt idx="74">
                  <c:v>45079</c:v>
                </c:pt>
                <c:pt idx="75">
                  <c:v>45086</c:v>
                </c:pt>
                <c:pt idx="76">
                  <c:v>45093</c:v>
                </c:pt>
                <c:pt idx="77">
                  <c:v>45100</c:v>
                </c:pt>
                <c:pt idx="78">
                  <c:v>45107</c:v>
                </c:pt>
                <c:pt idx="79">
                  <c:v>45114</c:v>
                </c:pt>
                <c:pt idx="80">
                  <c:v>45121</c:v>
                </c:pt>
                <c:pt idx="81">
                  <c:v>45128</c:v>
                </c:pt>
                <c:pt idx="82">
                  <c:v>45135</c:v>
                </c:pt>
                <c:pt idx="83">
                  <c:v>45142</c:v>
                </c:pt>
                <c:pt idx="84">
                  <c:v>45149</c:v>
                </c:pt>
                <c:pt idx="85">
                  <c:v>45156</c:v>
                </c:pt>
                <c:pt idx="86">
                  <c:v>45163</c:v>
                </c:pt>
                <c:pt idx="87">
                  <c:v>45170</c:v>
                </c:pt>
                <c:pt idx="88">
                  <c:v>45177</c:v>
                </c:pt>
                <c:pt idx="89">
                  <c:v>45184</c:v>
                </c:pt>
                <c:pt idx="90">
                  <c:v>45191</c:v>
                </c:pt>
                <c:pt idx="91">
                  <c:v>45198</c:v>
                </c:pt>
                <c:pt idx="92">
                  <c:v>45205</c:v>
                </c:pt>
                <c:pt idx="93">
                  <c:v>45212</c:v>
                </c:pt>
                <c:pt idx="94">
                  <c:v>45219</c:v>
                </c:pt>
                <c:pt idx="95">
                  <c:v>45226</c:v>
                </c:pt>
                <c:pt idx="96">
                  <c:v>45233</c:v>
                </c:pt>
                <c:pt idx="97">
                  <c:v>45240</c:v>
                </c:pt>
                <c:pt idx="98">
                  <c:v>45247</c:v>
                </c:pt>
                <c:pt idx="99">
                  <c:v>45254</c:v>
                </c:pt>
                <c:pt idx="100">
                  <c:v>45261</c:v>
                </c:pt>
                <c:pt idx="101">
                  <c:v>45268</c:v>
                </c:pt>
                <c:pt idx="102">
                  <c:v>45275</c:v>
                </c:pt>
                <c:pt idx="103">
                  <c:v>45282</c:v>
                </c:pt>
                <c:pt idx="104">
                  <c:v>45289</c:v>
                </c:pt>
                <c:pt idx="105">
                  <c:v>45296</c:v>
                </c:pt>
                <c:pt idx="106">
                  <c:v>45303</c:v>
                </c:pt>
                <c:pt idx="107">
                  <c:v>45310</c:v>
                </c:pt>
                <c:pt idx="108">
                  <c:v>45317</c:v>
                </c:pt>
                <c:pt idx="109">
                  <c:v>45324</c:v>
                </c:pt>
                <c:pt idx="110">
                  <c:v>45331</c:v>
                </c:pt>
                <c:pt idx="111">
                  <c:v>45338</c:v>
                </c:pt>
                <c:pt idx="112">
                  <c:v>45345</c:v>
                </c:pt>
                <c:pt idx="113">
                  <c:v>45352</c:v>
                </c:pt>
                <c:pt idx="114">
                  <c:v>45359</c:v>
                </c:pt>
                <c:pt idx="115">
                  <c:v>45366</c:v>
                </c:pt>
                <c:pt idx="116">
                  <c:v>45373</c:v>
                </c:pt>
                <c:pt idx="117">
                  <c:v>45380</c:v>
                </c:pt>
                <c:pt idx="118">
                  <c:v>45387</c:v>
                </c:pt>
                <c:pt idx="119">
                  <c:v>45394</c:v>
                </c:pt>
                <c:pt idx="120">
                  <c:v>45401</c:v>
                </c:pt>
                <c:pt idx="121">
                  <c:v>45408</c:v>
                </c:pt>
                <c:pt idx="122">
                  <c:v>45415</c:v>
                </c:pt>
                <c:pt idx="123">
                  <c:v>45422</c:v>
                </c:pt>
                <c:pt idx="124">
                  <c:v>45429</c:v>
                </c:pt>
                <c:pt idx="125">
                  <c:v>45436</c:v>
                </c:pt>
                <c:pt idx="126">
                  <c:v>45443</c:v>
                </c:pt>
                <c:pt idx="127">
                  <c:v>45450</c:v>
                </c:pt>
                <c:pt idx="128">
                  <c:v>45457</c:v>
                </c:pt>
                <c:pt idx="129">
                  <c:v>45464</c:v>
                </c:pt>
                <c:pt idx="130">
                  <c:v>45471</c:v>
                </c:pt>
                <c:pt idx="131">
                  <c:v>45478</c:v>
                </c:pt>
                <c:pt idx="132">
                  <c:v>45485</c:v>
                </c:pt>
                <c:pt idx="133">
                  <c:v>45492</c:v>
                </c:pt>
                <c:pt idx="134">
                  <c:v>45499</c:v>
                </c:pt>
                <c:pt idx="135">
                  <c:v>45506</c:v>
                </c:pt>
                <c:pt idx="136">
                  <c:v>45513</c:v>
                </c:pt>
                <c:pt idx="137">
                  <c:v>45520</c:v>
                </c:pt>
                <c:pt idx="138">
                  <c:v>45527</c:v>
                </c:pt>
                <c:pt idx="139">
                  <c:v>45534</c:v>
                </c:pt>
                <c:pt idx="140">
                  <c:v>45541</c:v>
                </c:pt>
                <c:pt idx="141">
                  <c:v>45548</c:v>
                </c:pt>
                <c:pt idx="142">
                  <c:v>45555</c:v>
                </c:pt>
                <c:pt idx="143">
                  <c:v>45562</c:v>
                </c:pt>
                <c:pt idx="144">
                  <c:v>45569</c:v>
                </c:pt>
                <c:pt idx="145">
                  <c:v>45576</c:v>
                </c:pt>
                <c:pt idx="146">
                  <c:v>45583</c:v>
                </c:pt>
                <c:pt idx="147">
                  <c:v>45590</c:v>
                </c:pt>
                <c:pt idx="148">
                  <c:v>45597</c:v>
                </c:pt>
                <c:pt idx="149">
                  <c:v>45604</c:v>
                </c:pt>
                <c:pt idx="150">
                  <c:v>45611</c:v>
                </c:pt>
                <c:pt idx="151">
                  <c:v>45618</c:v>
                </c:pt>
                <c:pt idx="152">
                  <c:v>45625</c:v>
                </c:pt>
                <c:pt idx="153">
                  <c:v>45632</c:v>
                </c:pt>
                <c:pt idx="154">
                  <c:v>45639</c:v>
                </c:pt>
                <c:pt idx="155">
                  <c:v>45646</c:v>
                </c:pt>
                <c:pt idx="156">
                  <c:v>45653</c:v>
                </c:pt>
                <c:pt idx="157">
                  <c:v>45660</c:v>
                </c:pt>
                <c:pt idx="158">
                  <c:v>45667</c:v>
                </c:pt>
                <c:pt idx="159">
                  <c:v>45674</c:v>
                </c:pt>
                <c:pt idx="160">
                  <c:v>45681</c:v>
                </c:pt>
                <c:pt idx="161">
                  <c:v>45688</c:v>
                </c:pt>
                <c:pt idx="162">
                  <c:v>45695</c:v>
                </c:pt>
                <c:pt idx="163">
                  <c:v>45702</c:v>
                </c:pt>
                <c:pt idx="164">
                  <c:v>45709</c:v>
                </c:pt>
                <c:pt idx="165">
                  <c:v>45716</c:v>
                </c:pt>
                <c:pt idx="166">
                  <c:v>45723</c:v>
                </c:pt>
                <c:pt idx="167">
                  <c:v>45730</c:v>
                </c:pt>
                <c:pt idx="168">
                  <c:v>45737</c:v>
                </c:pt>
                <c:pt idx="169">
                  <c:v>45744</c:v>
                </c:pt>
                <c:pt idx="170">
                  <c:v>45751</c:v>
                </c:pt>
                <c:pt idx="171">
                  <c:v>45758</c:v>
                </c:pt>
                <c:pt idx="172">
                  <c:v>45765</c:v>
                </c:pt>
                <c:pt idx="173">
                  <c:v>45772</c:v>
                </c:pt>
                <c:pt idx="174">
                  <c:v>45779</c:v>
                </c:pt>
                <c:pt idx="175">
                  <c:v>45786</c:v>
                </c:pt>
                <c:pt idx="176">
                  <c:v>45793</c:v>
                </c:pt>
                <c:pt idx="177">
                  <c:v>45800</c:v>
                </c:pt>
                <c:pt idx="178">
                  <c:v>45807</c:v>
                </c:pt>
                <c:pt idx="179">
                  <c:v>45814</c:v>
                </c:pt>
                <c:pt idx="180">
                  <c:v>45821</c:v>
                </c:pt>
                <c:pt idx="181">
                  <c:v>45828</c:v>
                </c:pt>
                <c:pt idx="182">
                  <c:v>45835</c:v>
                </c:pt>
                <c:pt idx="183">
                  <c:v>45842</c:v>
                </c:pt>
                <c:pt idx="184">
                  <c:v>45849</c:v>
                </c:pt>
                <c:pt idx="185">
                  <c:v>45856</c:v>
                </c:pt>
                <c:pt idx="186">
                  <c:v>45863</c:v>
                </c:pt>
                <c:pt idx="187">
                  <c:v>45870</c:v>
                </c:pt>
                <c:pt idx="188">
                  <c:v>45877</c:v>
                </c:pt>
                <c:pt idx="189">
                  <c:v>45884</c:v>
                </c:pt>
                <c:pt idx="190">
                  <c:v>45891</c:v>
                </c:pt>
                <c:pt idx="191">
                  <c:v>45898</c:v>
                </c:pt>
                <c:pt idx="192">
                  <c:v>45905</c:v>
                </c:pt>
                <c:pt idx="193">
                  <c:v>45912</c:v>
                </c:pt>
                <c:pt idx="194">
                  <c:v>45919</c:v>
                </c:pt>
                <c:pt idx="195">
                  <c:v>45926</c:v>
                </c:pt>
                <c:pt idx="196">
                  <c:v>45933</c:v>
                </c:pt>
                <c:pt idx="197">
                  <c:v>45940</c:v>
                </c:pt>
                <c:pt idx="198">
                  <c:v>45947</c:v>
                </c:pt>
                <c:pt idx="199">
                  <c:v>45954</c:v>
                </c:pt>
                <c:pt idx="200">
                  <c:v>45961</c:v>
                </c:pt>
                <c:pt idx="201">
                  <c:v>45968</c:v>
                </c:pt>
                <c:pt idx="202">
                  <c:v>45975</c:v>
                </c:pt>
                <c:pt idx="203">
                  <c:v>45982</c:v>
                </c:pt>
                <c:pt idx="204">
                  <c:v>45989</c:v>
                </c:pt>
                <c:pt idx="205">
                  <c:v>45996</c:v>
                </c:pt>
              </c:numCache>
            </c:numRef>
          </c:cat>
          <c:val>
            <c:numRef>
              <c:f>'指数合成-1.0'!$DJ$165:$DJ$379</c:f>
              <c:numCache>
                <c:formatCode>0.0</c:formatCode>
                <c:ptCount val="215"/>
                <c:pt idx="0">
                  <c:v>26.995018635942486</c:v>
                </c:pt>
                <c:pt idx="1">
                  <c:v>24.012818872340432</c:v>
                </c:pt>
                <c:pt idx="2">
                  <c:v>19.194648772595329</c:v>
                </c:pt>
                <c:pt idx="3">
                  <c:v>14.411762540079479</c:v>
                </c:pt>
                <c:pt idx="4">
                  <c:v>9.807319629930177</c:v>
                </c:pt>
                <c:pt idx="5">
                  <c:v>1.4203852912668395</c:v>
                </c:pt>
                <c:pt idx="6">
                  <c:v>-1.5237230020432264</c:v>
                </c:pt>
                <c:pt idx="7">
                  <c:v>-0.19285914366847123</c:v>
                </c:pt>
                <c:pt idx="8">
                  <c:v>5.9643465470206678</c:v>
                </c:pt>
                <c:pt idx="9">
                  <c:v>18.957348770204803</c:v>
                </c:pt>
                <c:pt idx="10">
                  <c:v>24.564569057706365</c:v>
                </c:pt>
                <c:pt idx="11">
                  <c:v>22.837353893453852</c:v>
                </c:pt>
                <c:pt idx="12">
                  <c:v>20.712622049327763</c:v>
                </c:pt>
                <c:pt idx="13">
                  <c:v>23.46304028823522</c:v>
                </c:pt>
                <c:pt idx="14">
                  <c:v>17.970666731002979</c:v>
                </c:pt>
                <c:pt idx="15">
                  <c:v>14.876606938516602</c:v>
                </c:pt>
                <c:pt idx="16">
                  <c:v>8.8350096155001694</c:v>
                </c:pt>
                <c:pt idx="17">
                  <c:v>-4.0812941836207415</c:v>
                </c:pt>
                <c:pt idx="18">
                  <c:v>-8.0137858183171318</c:v>
                </c:pt>
                <c:pt idx="19">
                  <c:v>-8.2944524544413838</c:v>
                </c:pt>
                <c:pt idx="20">
                  <c:v>-12.778300058041467</c:v>
                </c:pt>
                <c:pt idx="21">
                  <c:v>-14.030249590773465</c:v>
                </c:pt>
                <c:pt idx="22">
                  <c:v>-8.9218145967904405</c:v>
                </c:pt>
                <c:pt idx="23">
                  <c:v>-5.1371090498324179</c:v>
                </c:pt>
                <c:pt idx="24">
                  <c:v>-0.80603227816759215</c:v>
                </c:pt>
                <c:pt idx="25">
                  <c:v>0.9244228323642858</c:v>
                </c:pt>
                <c:pt idx="26">
                  <c:v>-3.9313930416262366</c:v>
                </c:pt>
                <c:pt idx="27">
                  <c:v>-7.2403864311104087</c:v>
                </c:pt>
                <c:pt idx="28">
                  <c:v>-9.3476458556465616</c:v>
                </c:pt>
                <c:pt idx="29">
                  <c:v>-7.4365530323073301</c:v>
                </c:pt>
                <c:pt idx="30">
                  <c:v>3.0523090155257933</c:v>
                </c:pt>
                <c:pt idx="31">
                  <c:v>-0.15516976871067811</c:v>
                </c:pt>
                <c:pt idx="32">
                  <c:v>-5.3622975090137004</c:v>
                </c:pt>
                <c:pt idx="33">
                  <c:v>-11.666714113520683</c:v>
                </c:pt>
                <c:pt idx="34">
                  <c:v>-25.196507754869714</c:v>
                </c:pt>
                <c:pt idx="35">
                  <c:v>-26.639902082479693</c:v>
                </c:pt>
                <c:pt idx="36">
                  <c:v>-33.006108269123104</c:v>
                </c:pt>
                <c:pt idx="37">
                  <c:v>-32.909331006689101</c:v>
                </c:pt>
                <c:pt idx="38">
                  <c:v>-29.513877854904706</c:v>
                </c:pt>
                <c:pt idx="39">
                  <c:v>-29.226724192194482</c:v>
                </c:pt>
                <c:pt idx="40">
                  <c:v>-26.810552499032752</c:v>
                </c:pt>
                <c:pt idx="41">
                  <c:v>-34.711077674154453</c:v>
                </c:pt>
                <c:pt idx="42">
                  <c:v>-40.852462993997861</c:v>
                </c:pt>
                <c:pt idx="43">
                  <c:v>-40.408786341593185</c:v>
                </c:pt>
                <c:pt idx="44">
                  <c:v>-37.448108915909096</c:v>
                </c:pt>
                <c:pt idx="45">
                  <c:v>-25.484346361997751</c:v>
                </c:pt>
                <c:pt idx="46">
                  <c:v>-18.192425811565755</c:v>
                </c:pt>
                <c:pt idx="47">
                  <c:v>-16.412537525290503</c:v>
                </c:pt>
                <c:pt idx="48">
                  <c:v>-18.061836843520695</c:v>
                </c:pt>
                <c:pt idx="49">
                  <c:v>-23.320906025653457</c:v>
                </c:pt>
                <c:pt idx="50">
                  <c:v>-21.927721734859432</c:v>
                </c:pt>
                <c:pt idx="51">
                  <c:v>-22.016437557053536</c:v>
                </c:pt>
                <c:pt idx="52">
                  <c:v>-17.375536262478619</c:v>
                </c:pt>
                <c:pt idx="53">
                  <c:v>-12.423395210645666</c:v>
                </c:pt>
                <c:pt idx="54">
                  <c:v>-13.217204874358131</c:v>
                </c:pt>
                <c:pt idx="55">
                  <c:v>-8.493060319387439</c:v>
                </c:pt>
                <c:pt idx="56">
                  <c:v>-12.289857189393004</c:v>
                </c:pt>
                <c:pt idx="57">
                  <c:v>-22.142567161663365</c:v>
                </c:pt>
                <c:pt idx="58">
                  <c:v>-29.193733903846237</c:v>
                </c:pt>
                <c:pt idx="59">
                  <c:v>-31.95325269006743</c:v>
                </c:pt>
                <c:pt idx="60">
                  <c:v>-28.66528975804458</c:v>
                </c:pt>
                <c:pt idx="61">
                  <c:v>-19.125128546911483</c:v>
                </c:pt>
                <c:pt idx="62">
                  <c:v>-14.421926122591827</c:v>
                </c:pt>
                <c:pt idx="63">
                  <c:v>-12.475275056277297</c:v>
                </c:pt>
                <c:pt idx="64">
                  <c:v>-15.903647647160128</c:v>
                </c:pt>
                <c:pt idx="65">
                  <c:v>-16.207981636569215</c:v>
                </c:pt>
                <c:pt idx="66">
                  <c:v>-14.213052308211161</c:v>
                </c:pt>
                <c:pt idx="67">
                  <c:v>-9.8956642949023887</c:v>
                </c:pt>
                <c:pt idx="68">
                  <c:v>-4.7661656254250744</c:v>
                </c:pt>
                <c:pt idx="69">
                  <c:v>1.2517666891525607</c:v>
                </c:pt>
                <c:pt idx="70">
                  <c:v>1.8671260517489685</c:v>
                </c:pt>
                <c:pt idx="71">
                  <c:v>-3.4737964562054913</c:v>
                </c:pt>
                <c:pt idx="72">
                  <c:v>0.47185794754244625</c:v>
                </c:pt>
                <c:pt idx="73">
                  <c:v>-0.3561798859161911</c:v>
                </c:pt>
                <c:pt idx="74">
                  <c:v>-2.1086331842863757</c:v>
                </c:pt>
                <c:pt idx="75">
                  <c:v>-2.4141330915854127</c:v>
                </c:pt>
                <c:pt idx="76">
                  <c:v>-5.3441734183041234</c:v>
                </c:pt>
                <c:pt idx="77">
                  <c:v>-10.174502651714278</c:v>
                </c:pt>
                <c:pt idx="78">
                  <c:v>-8.781776714231853</c:v>
                </c:pt>
                <c:pt idx="79">
                  <c:v>-10.803807507817567</c:v>
                </c:pt>
                <c:pt idx="80">
                  <c:v>-10.801302577229933</c:v>
                </c:pt>
                <c:pt idx="81">
                  <c:v>-11.907091511368222</c:v>
                </c:pt>
                <c:pt idx="82">
                  <c:v>-15.127800964866609</c:v>
                </c:pt>
                <c:pt idx="83">
                  <c:v>-18.408530673801408</c:v>
                </c:pt>
                <c:pt idx="84">
                  <c:v>-14.780629376171277</c:v>
                </c:pt>
                <c:pt idx="85">
                  <c:v>-11.303653100246109</c:v>
                </c:pt>
                <c:pt idx="86">
                  <c:v>-2.3925004308172362</c:v>
                </c:pt>
                <c:pt idx="87">
                  <c:v>5.2540463050850406</c:v>
                </c:pt>
                <c:pt idx="88">
                  <c:v>13.259293259135532</c:v>
                </c:pt>
                <c:pt idx="89">
                  <c:v>22.814622227451935</c:v>
                </c:pt>
                <c:pt idx="90">
                  <c:v>16.123184132756791</c:v>
                </c:pt>
                <c:pt idx="91">
                  <c:v>14.313488728597051</c:v>
                </c:pt>
                <c:pt idx="92">
                  <c:v>2.9310804849207415</c:v>
                </c:pt>
                <c:pt idx="93">
                  <c:v>-1.7490005238476982</c:v>
                </c:pt>
                <c:pt idx="94">
                  <c:v>8.6191404397651894</c:v>
                </c:pt>
                <c:pt idx="95">
                  <c:v>12.209416958112016</c:v>
                </c:pt>
                <c:pt idx="96">
                  <c:v>20.762988445748192</c:v>
                </c:pt>
                <c:pt idx="97">
                  <c:v>20.858003427567695</c:v>
                </c:pt>
                <c:pt idx="98">
                  <c:v>13.826038202224026</c:v>
                </c:pt>
                <c:pt idx="99">
                  <c:v>16.699116843139564</c:v>
                </c:pt>
                <c:pt idx="100">
                  <c:v>25.006786851093295</c:v>
                </c:pt>
                <c:pt idx="101">
                  <c:v>33.70681711254349</c:v>
                </c:pt>
                <c:pt idx="102">
                  <c:v>36.045324837934828</c:v>
                </c:pt>
                <c:pt idx="103">
                  <c:v>36.238143376842118</c:v>
                </c:pt>
                <c:pt idx="104">
                  <c:v>29.298850379791219</c:v>
                </c:pt>
                <c:pt idx="105">
                  <c:v>24.910933196243406</c:v>
                </c:pt>
                <c:pt idx="106">
                  <c:v>29.374576295403301</c:v>
                </c:pt>
                <c:pt idx="107">
                  <c:v>30.002357478440047</c:v>
                </c:pt>
                <c:pt idx="108">
                  <c:v>33.914758306591551</c:v>
                </c:pt>
                <c:pt idx="109">
                  <c:v>50.752033484977062</c:v>
                </c:pt>
                <c:pt idx="110">
                  <c:v>69.741888981748644</c:v>
                </c:pt>
                <c:pt idx="111">
                  <c:v>63.880689516460734</c:v>
                </c:pt>
                <c:pt idx="112">
                  <c:v>41.945510748624343</c:v>
                </c:pt>
                <c:pt idx="113">
                  <c:v>17.304188988906262</c:v>
                </c:pt>
                <c:pt idx="114">
                  <c:v>0.47628963397134783</c:v>
                </c:pt>
                <c:pt idx="115">
                  <c:v>2.9803089073983813</c:v>
                </c:pt>
                <c:pt idx="116">
                  <c:v>12.863861413993988</c:v>
                </c:pt>
                <c:pt idx="117">
                  <c:v>12.866995412889537</c:v>
                </c:pt>
                <c:pt idx="118">
                  <c:v>13.972697546181266</c:v>
                </c:pt>
                <c:pt idx="119">
                  <c:v>13.340848451830496</c:v>
                </c:pt>
                <c:pt idx="120">
                  <c:v>6.8711109492093385</c:v>
                </c:pt>
                <c:pt idx="121">
                  <c:v>8.150315794290492</c:v>
                </c:pt>
                <c:pt idx="122">
                  <c:v>8.9575794731465237</c:v>
                </c:pt>
                <c:pt idx="123">
                  <c:v>15.573046296924062</c:v>
                </c:pt>
                <c:pt idx="124">
                  <c:v>19.247232481102273</c:v>
                </c:pt>
                <c:pt idx="125">
                  <c:v>19.285261666550184</c:v>
                </c:pt>
                <c:pt idx="126">
                  <c:v>20.53154613089319</c:v>
                </c:pt>
                <c:pt idx="127">
                  <c:v>17.266643069547172</c:v>
                </c:pt>
                <c:pt idx="128">
                  <c:v>17.163986441540047</c:v>
                </c:pt>
                <c:pt idx="129">
                  <c:v>23.634563042366636</c:v>
                </c:pt>
                <c:pt idx="130">
                  <c:v>25.279355042315885</c:v>
                </c:pt>
                <c:pt idx="131">
                  <c:v>29.334211621098831</c:v>
                </c:pt>
                <c:pt idx="132">
                  <c:v>33.231957781613545</c:v>
                </c:pt>
                <c:pt idx="133">
                  <c:v>33.109670620929307</c:v>
                </c:pt>
                <c:pt idx="134">
                  <c:v>32.120083205287642</c:v>
                </c:pt>
                <c:pt idx="135">
                  <c:v>40.775512693517413</c:v>
                </c:pt>
                <c:pt idx="136">
                  <c:v>39.802605024267478</c:v>
                </c:pt>
                <c:pt idx="137">
                  <c:v>39.425314246122639</c:v>
                </c:pt>
                <c:pt idx="138">
                  <c:v>36.420109279340238</c:v>
                </c:pt>
                <c:pt idx="139">
                  <c:v>27.678291517896554</c:v>
                </c:pt>
                <c:pt idx="140">
                  <c:v>28.456399274555253</c:v>
                </c:pt>
                <c:pt idx="141">
                  <c:v>24.402969249840069</c:v>
                </c:pt>
                <c:pt idx="142">
                  <c:v>17.110975442854894</c:v>
                </c:pt>
                <c:pt idx="143">
                  <c:v>13.804360471507479</c:v>
                </c:pt>
                <c:pt idx="144">
                  <c:v>16.54935616375974</c:v>
                </c:pt>
                <c:pt idx="145">
                  <c:v>26.052626816193026</c:v>
                </c:pt>
                <c:pt idx="146">
                  <c:v>30.532409673209344</c:v>
                </c:pt>
                <c:pt idx="147">
                  <c:v>27.959491296568785</c:v>
                </c:pt>
                <c:pt idx="148">
                  <c:v>14.734142291110118</c:v>
                </c:pt>
                <c:pt idx="149">
                  <c:v>0.73054778941401821</c:v>
                </c:pt>
                <c:pt idx="150">
                  <c:v>3.2335782854140689</c:v>
                </c:pt>
                <c:pt idx="151">
                  <c:v>1.628498040924157</c:v>
                </c:pt>
                <c:pt idx="152">
                  <c:v>-0.53533969265184567</c:v>
                </c:pt>
                <c:pt idx="153">
                  <c:v>-2.3710227178683994</c:v>
                </c:pt>
                <c:pt idx="154">
                  <c:v>-4.214240559304784</c:v>
                </c:pt>
                <c:pt idx="155">
                  <c:v>-2.0735460619759039</c:v>
                </c:pt>
                <c:pt idx="156">
                  <c:v>1.4563654385339362</c:v>
                </c:pt>
                <c:pt idx="157">
                  <c:v>1.8753079294295105</c:v>
                </c:pt>
                <c:pt idx="158">
                  <c:v>-2.1210381473780586</c:v>
                </c:pt>
                <c:pt idx="159">
                  <c:v>-5.3055881044975592</c:v>
                </c:pt>
                <c:pt idx="160">
                  <c:v>-3.6384079402941154</c:v>
                </c:pt>
                <c:pt idx="161">
                  <c:v>1.0481099648395258</c:v>
                </c:pt>
                <c:pt idx="162">
                  <c:v>-0.11186192542055551</c:v>
                </c:pt>
                <c:pt idx="163">
                  <c:v>-1.6183840883476677</c:v>
                </c:pt>
                <c:pt idx="164">
                  <c:v>3.6882192612876139</c:v>
                </c:pt>
                <c:pt idx="165">
                  <c:v>3.261790798123215</c:v>
                </c:pt>
                <c:pt idx="166">
                  <c:v>13.732617752863604</c:v>
                </c:pt>
                <c:pt idx="167">
                  <c:v>14.195008421695249</c:v>
                </c:pt>
                <c:pt idx="168">
                  <c:v>6.7982740328068019</c:v>
                </c:pt>
                <c:pt idx="169">
                  <c:v>7.943833844295952</c:v>
                </c:pt>
                <c:pt idx="170">
                  <c:v>7.109557868375191</c:v>
                </c:pt>
                <c:pt idx="171">
                  <c:v>7.9069651533634726</c:v>
                </c:pt>
                <c:pt idx="172">
                  <c:v>9.6110138015344404</c:v>
                </c:pt>
                <c:pt idx="173">
                  <c:v>5.5547803980311841</c:v>
                </c:pt>
                <c:pt idx="174">
                  <c:v>5.6590493678620533</c:v>
                </c:pt>
                <c:pt idx="175">
                  <c:v>2.0967921198633519</c:v>
                </c:pt>
                <c:pt idx="176">
                  <c:v>-1.0744015226181745</c:v>
                </c:pt>
                <c:pt idx="177">
                  <c:v>0.13975708808135323</c:v>
                </c:pt>
                <c:pt idx="178">
                  <c:v>-2.6533254726728472</c:v>
                </c:pt>
                <c:pt idx="179">
                  <c:v>-2.4587203693520081</c:v>
                </c:pt>
                <c:pt idx="180">
                  <c:v>0.66701716198160454</c:v>
                </c:pt>
                <c:pt idx="181">
                  <c:v>2.6145548687652536</c:v>
                </c:pt>
                <c:pt idx="182">
                  <c:v>4.6798965196208826</c:v>
                </c:pt>
                <c:pt idx="183">
                  <c:v>7.1742034135056372</c:v>
                </c:pt>
                <c:pt idx="184">
                  <c:v>4.8527508124469847</c:v>
                </c:pt>
                <c:pt idx="185">
                  <c:v>3.6439672448508134</c:v>
                </c:pt>
                <c:pt idx="186">
                  <c:v>4.4522962680881335</c:v>
                </c:pt>
                <c:pt idx="187">
                  <c:v>2.842530846552819</c:v>
                </c:pt>
                <c:pt idx="188">
                  <c:v>3.2197602316354335</c:v>
                </c:pt>
                <c:pt idx="189">
                  <c:v>3.3223003342334607</c:v>
                </c:pt>
                <c:pt idx="190">
                  <c:v>2.2600552750544693</c:v>
                </c:pt>
                <c:pt idx="191">
                  <c:v>4.2684509083152733</c:v>
                </c:pt>
                <c:pt idx="192">
                  <c:v>4.7755605122467273</c:v>
                </c:pt>
                <c:pt idx="193">
                  <c:v>4.0687669409545322</c:v>
                </c:pt>
                <c:pt idx="194">
                  <c:v>11.416093811575934</c:v>
                </c:pt>
                <c:pt idx="195">
                  <c:v>12.976633149344281</c:v>
                </c:pt>
                <c:pt idx="196">
                  <c:v>13.814711482313584</c:v>
                </c:pt>
                <c:pt idx="197">
                  <c:v>12.379750070015419</c:v>
                </c:pt>
                <c:pt idx="198">
                  <c:v>3.4929363932473052</c:v>
                </c:pt>
                <c:pt idx="199">
                  <c:v>-3.4994098877742914</c:v>
                </c:pt>
                <c:pt idx="200">
                  <c:v>1.0589633094499646</c:v>
                </c:pt>
                <c:pt idx="201">
                  <c:v>8.3166935665026926</c:v>
                </c:pt>
                <c:pt idx="202">
                  <c:v>7.0156264225051075</c:v>
                </c:pt>
                <c:pt idx="203">
                  <c:v>17.223945220999838</c:v>
                </c:pt>
                <c:pt idx="204">
                  <c:v>16.06253622459775</c:v>
                </c:pt>
                <c:pt idx="205">
                  <c:v>14.832675265520606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3-8A58-4F01-8B01-E4328FD82A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290015440"/>
        <c:axId val="-1290035568"/>
        <c:extLst xmlns:c16r2="http://schemas.microsoft.com/office/drawing/2015/06/chart">
          <c:ext xmlns:c15="http://schemas.microsoft.com/office/drawing/2012/chart" uri="{02D57815-91ED-43cb-92C2-25804820EDAC}">
            <c15:filteredLineSeries>
              <c15:ser>
                <c:idx val="2"/>
                <c:order val="1"/>
                <c:tx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'指数合成-1.0'!$DE$8</c15:sqref>
                        </c15:formulaRef>
                      </c:ext>
                    </c:extLst>
                    <c:strCache>
                      <c:ptCount val="1"/>
                      <c:pt idx="0">
                        <c:v>居民收入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'指数合成-1.0'!$DC$165:$DC$379</c15:sqref>
                        </c15:formulaRef>
                      </c:ext>
                    </c:extLst>
                    <c:numCache>
                      <c:formatCode>yyyy\-mm\-dd</c:formatCode>
                      <c:ptCount val="215"/>
                      <c:pt idx="0">
                        <c:v>44561</c:v>
                      </c:pt>
                      <c:pt idx="1">
                        <c:v>44568</c:v>
                      </c:pt>
                      <c:pt idx="2">
                        <c:v>44575</c:v>
                      </c:pt>
                      <c:pt idx="3">
                        <c:v>44582</c:v>
                      </c:pt>
                      <c:pt idx="4">
                        <c:v>44589</c:v>
                      </c:pt>
                      <c:pt idx="5">
                        <c:v>44596</c:v>
                      </c:pt>
                      <c:pt idx="6">
                        <c:v>44603</c:v>
                      </c:pt>
                      <c:pt idx="7">
                        <c:v>44610</c:v>
                      </c:pt>
                      <c:pt idx="8">
                        <c:v>44617</c:v>
                      </c:pt>
                      <c:pt idx="9">
                        <c:v>44624</c:v>
                      </c:pt>
                      <c:pt idx="10">
                        <c:v>44631</c:v>
                      </c:pt>
                      <c:pt idx="11">
                        <c:v>44638</c:v>
                      </c:pt>
                      <c:pt idx="12">
                        <c:v>44645</c:v>
                      </c:pt>
                      <c:pt idx="13">
                        <c:v>44652</c:v>
                      </c:pt>
                      <c:pt idx="14">
                        <c:v>44659</c:v>
                      </c:pt>
                      <c:pt idx="15">
                        <c:v>44666</c:v>
                      </c:pt>
                      <c:pt idx="16">
                        <c:v>44673</c:v>
                      </c:pt>
                      <c:pt idx="17">
                        <c:v>44680</c:v>
                      </c:pt>
                      <c:pt idx="18">
                        <c:v>44687</c:v>
                      </c:pt>
                      <c:pt idx="19">
                        <c:v>44694</c:v>
                      </c:pt>
                      <c:pt idx="20">
                        <c:v>44701</c:v>
                      </c:pt>
                      <c:pt idx="21">
                        <c:v>44708</c:v>
                      </c:pt>
                      <c:pt idx="22">
                        <c:v>44715</c:v>
                      </c:pt>
                      <c:pt idx="23">
                        <c:v>44722</c:v>
                      </c:pt>
                      <c:pt idx="24">
                        <c:v>44729</c:v>
                      </c:pt>
                      <c:pt idx="25">
                        <c:v>44736</c:v>
                      </c:pt>
                      <c:pt idx="26">
                        <c:v>44743</c:v>
                      </c:pt>
                      <c:pt idx="27">
                        <c:v>44750</c:v>
                      </c:pt>
                      <c:pt idx="28">
                        <c:v>44757</c:v>
                      </c:pt>
                      <c:pt idx="29">
                        <c:v>44764</c:v>
                      </c:pt>
                      <c:pt idx="30">
                        <c:v>44771</c:v>
                      </c:pt>
                      <c:pt idx="31">
                        <c:v>44778</c:v>
                      </c:pt>
                      <c:pt idx="32">
                        <c:v>44785</c:v>
                      </c:pt>
                      <c:pt idx="33">
                        <c:v>44792</c:v>
                      </c:pt>
                      <c:pt idx="34">
                        <c:v>44799</c:v>
                      </c:pt>
                      <c:pt idx="35">
                        <c:v>44806</c:v>
                      </c:pt>
                      <c:pt idx="36">
                        <c:v>44813</c:v>
                      </c:pt>
                      <c:pt idx="37">
                        <c:v>44820</c:v>
                      </c:pt>
                      <c:pt idx="38">
                        <c:v>44827</c:v>
                      </c:pt>
                      <c:pt idx="39">
                        <c:v>44834</c:v>
                      </c:pt>
                      <c:pt idx="40">
                        <c:v>44841</c:v>
                      </c:pt>
                      <c:pt idx="41">
                        <c:v>44848</c:v>
                      </c:pt>
                      <c:pt idx="42">
                        <c:v>44855</c:v>
                      </c:pt>
                      <c:pt idx="43">
                        <c:v>44862</c:v>
                      </c:pt>
                      <c:pt idx="44">
                        <c:v>44869</c:v>
                      </c:pt>
                      <c:pt idx="45">
                        <c:v>44876</c:v>
                      </c:pt>
                      <c:pt idx="46">
                        <c:v>44883</c:v>
                      </c:pt>
                      <c:pt idx="47">
                        <c:v>44890</c:v>
                      </c:pt>
                      <c:pt idx="48">
                        <c:v>44897</c:v>
                      </c:pt>
                      <c:pt idx="49">
                        <c:v>44904</c:v>
                      </c:pt>
                      <c:pt idx="50">
                        <c:v>44911</c:v>
                      </c:pt>
                      <c:pt idx="51">
                        <c:v>44918</c:v>
                      </c:pt>
                      <c:pt idx="52">
                        <c:v>44925</c:v>
                      </c:pt>
                      <c:pt idx="53">
                        <c:v>44932</c:v>
                      </c:pt>
                      <c:pt idx="54">
                        <c:v>44939</c:v>
                      </c:pt>
                      <c:pt idx="55">
                        <c:v>44946</c:v>
                      </c:pt>
                      <c:pt idx="56">
                        <c:v>44953</c:v>
                      </c:pt>
                      <c:pt idx="57">
                        <c:v>44960</c:v>
                      </c:pt>
                      <c:pt idx="58">
                        <c:v>44967</c:v>
                      </c:pt>
                      <c:pt idx="59">
                        <c:v>44974</c:v>
                      </c:pt>
                      <c:pt idx="60">
                        <c:v>44981</c:v>
                      </c:pt>
                      <c:pt idx="61">
                        <c:v>44988</c:v>
                      </c:pt>
                      <c:pt idx="62">
                        <c:v>44995</c:v>
                      </c:pt>
                      <c:pt idx="63">
                        <c:v>45002</c:v>
                      </c:pt>
                      <c:pt idx="64">
                        <c:v>45009</c:v>
                      </c:pt>
                      <c:pt idx="65">
                        <c:v>45016</c:v>
                      </c:pt>
                      <c:pt idx="66">
                        <c:v>45023</c:v>
                      </c:pt>
                      <c:pt idx="67">
                        <c:v>45030</c:v>
                      </c:pt>
                      <c:pt idx="68">
                        <c:v>45037</c:v>
                      </c:pt>
                      <c:pt idx="69">
                        <c:v>45044</c:v>
                      </c:pt>
                      <c:pt idx="70">
                        <c:v>45051</c:v>
                      </c:pt>
                      <c:pt idx="71">
                        <c:v>45058</c:v>
                      </c:pt>
                      <c:pt idx="72">
                        <c:v>45065</c:v>
                      </c:pt>
                      <c:pt idx="73">
                        <c:v>45072</c:v>
                      </c:pt>
                      <c:pt idx="74">
                        <c:v>45079</c:v>
                      </c:pt>
                      <c:pt idx="75">
                        <c:v>45086</c:v>
                      </c:pt>
                      <c:pt idx="76">
                        <c:v>45093</c:v>
                      </c:pt>
                      <c:pt idx="77">
                        <c:v>45100</c:v>
                      </c:pt>
                      <c:pt idx="78">
                        <c:v>45107</c:v>
                      </c:pt>
                      <c:pt idx="79">
                        <c:v>45114</c:v>
                      </c:pt>
                      <c:pt idx="80">
                        <c:v>45121</c:v>
                      </c:pt>
                      <c:pt idx="81">
                        <c:v>45128</c:v>
                      </c:pt>
                      <c:pt idx="82">
                        <c:v>45135</c:v>
                      </c:pt>
                      <c:pt idx="83">
                        <c:v>45142</c:v>
                      </c:pt>
                      <c:pt idx="84">
                        <c:v>45149</c:v>
                      </c:pt>
                      <c:pt idx="85">
                        <c:v>45156</c:v>
                      </c:pt>
                      <c:pt idx="86">
                        <c:v>45163</c:v>
                      </c:pt>
                      <c:pt idx="87">
                        <c:v>45170</c:v>
                      </c:pt>
                      <c:pt idx="88">
                        <c:v>45177</c:v>
                      </c:pt>
                      <c:pt idx="89">
                        <c:v>45184</c:v>
                      </c:pt>
                      <c:pt idx="90">
                        <c:v>45191</c:v>
                      </c:pt>
                      <c:pt idx="91">
                        <c:v>45198</c:v>
                      </c:pt>
                      <c:pt idx="92">
                        <c:v>45205</c:v>
                      </c:pt>
                      <c:pt idx="93">
                        <c:v>45212</c:v>
                      </c:pt>
                      <c:pt idx="94">
                        <c:v>45219</c:v>
                      </c:pt>
                      <c:pt idx="95">
                        <c:v>45226</c:v>
                      </c:pt>
                      <c:pt idx="96">
                        <c:v>45233</c:v>
                      </c:pt>
                      <c:pt idx="97">
                        <c:v>45240</c:v>
                      </c:pt>
                      <c:pt idx="98">
                        <c:v>45247</c:v>
                      </c:pt>
                      <c:pt idx="99">
                        <c:v>45254</c:v>
                      </c:pt>
                      <c:pt idx="100">
                        <c:v>45261</c:v>
                      </c:pt>
                      <c:pt idx="101">
                        <c:v>45268</c:v>
                      </c:pt>
                      <c:pt idx="102">
                        <c:v>45275</c:v>
                      </c:pt>
                      <c:pt idx="103">
                        <c:v>45282</c:v>
                      </c:pt>
                      <c:pt idx="104">
                        <c:v>45289</c:v>
                      </c:pt>
                      <c:pt idx="105">
                        <c:v>45296</c:v>
                      </c:pt>
                      <c:pt idx="106">
                        <c:v>45303</c:v>
                      </c:pt>
                      <c:pt idx="107">
                        <c:v>45310</c:v>
                      </c:pt>
                      <c:pt idx="108">
                        <c:v>45317</c:v>
                      </c:pt>
                      <c:pt idx="109">
                        <c:v>45324</c:v>
                      </c:pt>
                      <c:pt idx="110">
                        <c:v>45331</c:v>
                      </c:pt>
                      <c:pt idx="111">
                        <c:v>45338</c:v>
                      </c:pt>
                      <c:pt idx="112">
                        <c:v>45345</c:v>
                      </c:pt>
                      <c:pt idx="113">
                        <c:v>45352</c:v>
                      </c:pt>
                      <c:pt idx="114">
                        <c:v>45359</c:v>
                      </c:pt>
                      <c:pt idx="115">
                        <c:v>45366</c:v>
                      </c:pt>
                      <c:pt idx="116">
                        <c:v>45373</c:v>
                      </c:pt>
                      <c:pt idx="117">
                        <c:v>45380</c:v>
                      </c:pt>
                      <c:pt idx="118">
                        <c:v>45387</c:v>
                      </c:pt>
                      <c:pt idx="119">
                        <c:v>45394</c:v>
                      </c:pt>
                      <c:pt idx="120">
                        <c:v>45401</c:v>
                      </c:pt>
                      <c:pt idx="121">
                        <c:v>45408</c:v>
                      </c:pt>
                      <c:pt idx="122">
                        <c:v>45415</c:v>
                      </c:pt>
                      <c:pt idx="123">
                        <c:v>45422</c:v>
                      </c:pt>
                      <c:pt idx="124">
                        <c:v>45429</c:v>
                      </c:pt>
                      <c:pt idx="125">
                        <c:v>45436</c:v>
                      </c:pt>
                      <c:pt idx="126">
                        <c:v>45443</c:v>
                      </c:pt>
                      <c:pt idx="127">
                        <c:v>45450</c:v>
                      </c:pt>
                      <c:pt idx="128">
                        <c:v>45457</c:v>
                      </c:pt>
                      <c:pt idx="129">
                        <c:v>45464</c:v>
                      </c:pt>
                      <c:pt idx="130">
                        <c:v>45471</c:v>
                      </c:pt>
                      <c:pt idx="131">
                        <c:v>45478</c:v>
                      </c:pt>
                      <c:pt idx="132">
                        <c:v>45485</c:v>
                      </c:pt>
                      <c:pt idx="133">
                        <c:v>45492</c:v>
                      </c:pt>
                      <c:pt idx="134">
                        <c:v>45499</c:v>
                      </c:pt>
                      <c:pt idx="135">
                        <c:v>45506</c:v>
                      </c:pt>
                      <c:pt idx="136">
                        <c:v>45513</c:v>
                      </c:pt>
                      <c:pt idx="137">
                        <c:v>45520</c:v>
                      </c:pt>
                      <c:pt idx="138">
                        <c:v>45527</c:v>
                      </c:pt>
                      <c:pt idx="139">
                        <c:v>45534</c:v>
                      </c:pt>
                      <c:pt idx="140">
                        <c:v>45541</c:v>
                      </c:pt>
                      <c:pt idx="141">
                        <c:v>45548</c:v>
                      </c:pt>
                      <c:pt idx="142">
                        <c:v>45555</c:v>
                      </c:pt>
                      <c:pt idx="143">
                        <c:v>45562</c:v>
                      </c:pt>
                      <c:pt idx="144">
                        <c:v>45569</c:v>
                      </c:pt>
                      <c:pt idx="145">
                        <c:v>45576</c:v>
                      </c:pt>
                      <c:pt idx="146">
                        <c:v>45583</c:v>
                      </c:pt>
                      <c:pt idx="147">
                        <c:v>45590</c:v>
                      </c:pt>
                      <c:pt idx="148">
                        <c:v>45597</c:v>
                      </c:pt>
                      <c:pt idx="149">
                        <c:v>45604</c:v>
                      </c:pt>
                      <c:pt idx="150">
                        <c:v>45611</c:v>
                      </c:pt>
                      <c:pt idx="151">
                        <c:v>45618</c:v>
                      </c:pt>
                      <c:pt idx="152">
                        <c:v>45625</c:v>
                      </c:pt>
                      <c:pt idx="153">
                        <c:v>45632</c:v>
                      </c:pt>
                      <c:pt idx="154">
                        <c:v>45639</c:v>
                      </c:pt>
                      <c:pt idx="155">
                        <c:v>45646</c:v>
                      </c:pt>
                      <c:pt idx="156">
                        <c:v>45653</c:v>
                      </c:pt>
                      <c:pt idx="157">
                        <c:v>45660</c:v>
                      </c:pt>
                      <c:pt idx="158">
                        <c:v>45667</c:v>
                      </c:pt>
                      <c:pt idx="159">
                        <c:v>45674</c:v>
                      </c:pt>
                      <c:pt idx="160">
                        <c:v>45681</c:v>
                      </c:pt>
                      <c:pt idx="161">
                        <c:v>45688</c:v>
                      </c:pt>
                      <c:pt idx="162">
                        <c:v>45695</c:v>
                      </c:pt>
                      <c:pt idx="163">
                        <c:v>45702</c:v>
                      </c:pt>
                      <c:pt idx="164">
                        <c:v>45709</c:v>
                      </c:pt>
                      <c:pt idx="165">
                        <c:v>45716</c:v>
                      </c:pt>
                      <c:pt idx="166">
                        <c:v>45723</c:v>
                      </c:pt>
                      <c:pt idx="167">
                        <c:v>45730</c:v>
                      </c:pt>
                      <c:pt idx="168">
                        <c:v>45737</c:v>
                      </c:pt>
                      <c:pt idx="169">
                        <c:v>45744</c:v>
                      </c:pt>
                      <c:pt idx="170">
                        <c:v>45751</c:v>
                      </c:pt>
                      <c:pt idx="171">
                        <c:v>45758</c:v>
                      </c:pt>
                      <c:pt idx="172">
                        <c:v>45765</c:v>
                      </c:pt>
                      <c:pt idx="173">
                        <c:v>45772</c:v>
                      </c:pt>
                      <c:pt idx="174">
                        <c:v>45779</c:v>
                      </c:pt>
                      <c:pt idx="175">
                        <c:v>45786</c:v>
                      </c:pt>
                      <c:pt idx="176">
                        <c:v>45793</c:v>
                      </c:pt>
                      <c:pt idx="177">
                        <c:v>45800</c:v>
                      </c:pt>
                      <c:pt idx="178">
                        <c:v>45807</c:v>
                      </c:pt>
                      <c:pt idx="179">
                        <c:v>45814</c:v>
                      </c:pt>
                      <c:pt idx="180">
                        <c:v>45821</c:v>
                      </c:pt>
                      <c:pt idx="181">
                        <c:v>45828</c:v>
                      </c:pt>
                      <c:pt idx="182">
                        <c:v>45835</c:v>
                      </c:pt>
                      <c:pt idx="183">
                        <c:v>45842</c:v>
                      </c:pt>
                      <c:pt idx="184">
                        <c:v>45849</c:v>
                      </c:pt>
                      <c:pt idx="185">
                        <c:v>45856</c:v>
                      </c:pt>
                      <c:pt idx="186">
                        <c:v>45863</c:v>
                      </c:pt>
                      <c:pt idx="187">
                        <c:v>45870</c:v>
                      </c:pt>
                      <c:pt idx="188">
                        <c:v>45877</c:v>
                      </c:pt>
                      <c:pt idx="189">
                        <c:v>45884</c:v>
                      </c:pt>
                      <c:pt idx="190">
                        <c:v>45891</c:v>
                      </c:pt>
                      <c:pt idx="191">
                        <c:v>45898</c:v>
                      </c:pt>
                      <c:pt idx="192">
                        <c:v>45905</c:v>
                      </c:pt>
                      <c:pt idx="193">
                        <c:v>45912</c:v>
                      </c:pt>
                      <c:pt idx="194">
                        <c:v>45919</c:v>
                      </c:pt>
                      <c:pt idx="195">
                        <c:v>45926</c:v>
                      </c:pt>
                      <c:pt idx="196">
                        <c:v>45933</c:v>
                      </c:pt>
                      <c:pt idx="197">
                        <c:v>45940</c:v>
                      </c:pt>
                      <c:pt idx="198">
                        <c:v>45947</c:v>
                      </c:pt>
                      <c:pt idx="199">
                        <c:v>45954</c:v>
                      </c:pt>
                      <c:pt idx="200">
                        <c:v>45961</c:v>
                      </c:pt>
                      <c:pt idx="201">
                        <c:v>45968</c:v>
                      </c:pt>
                      <c:pt idx="202">
                        <c:v>45975</c:v>
                      </c:pt>
                      <c:pt idx="203">
                        <c:v>45982</c:v>
                      </c:pt>
                      <c:pt idx="204">
                        <c:v>45989</c:v>
                      </c:pt>
                      <c:pt idx="205">
                        <c:v>45996</c:v>
                      </c:pt>
                    </c:numCache>
                  </c:numRef>
                </c:cat>
                <c:val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'指数合成-1.0'!$DE$165:$DE$369</c15:sqref>
                        </c15:formulaRef>
                      </c:ext>
                    </c:extLst>
                    <c:numCache>
                      <c:formatCode>0.0</c:formatCode>
                      <c:ptCount val="205"/>
                      <c:pt idx="0">
                        <c:v>8.7223946594781268</c:v>
                      </c:pt>
                      <c:pt idx="1">
                        <c:v>11.933805149936433</c:v>
                      </c:pt>
                      <c:pt idx="2">
                        <c:v>13.89081221033841</c:v>
                      </c:pt>
                      <c:pt idx="3">
                        <c:v>13.74139698307053</c:v>
                      </c:pt>
                      <c:pt idx="4">
                        <c:v>12.179139500276719</c:v>
                      </c:pt>
                      <c:pt idx="5">
                        <c:v>10.75828126175864</c:v>
                      </c:pt>
                      <c:pt idx="6">
                        <c:v>7.6608844032687813</c:v>
                      </c:pt>
                      <c:pt idx="7">
                        <c:v>3.0427251096658381</c:v>
                      </c:pt>
                      <c:pt idx="8">
                        <c:v>1.0617553311381727</c:v>
                      </c:pt>
                      <c:pt idx="9">
                        <c:v>-3.3936806385482896</c:v>
                      </c:pt>
                      <c:pt idx="10">
                        <c:v>-4.0659670614821835</c:v>
                      </c:pt>
                      <c:pt idx="11">
                        <c:v>-4.6633066309175604</c:v>
                      </c:pt>
                      <c:pt idx="12">
                        <c:v>-6.7178547810722904</c:v>
                      </c:pt>
                      <c:pt idx="13">
                        <c:v>-8.8293122387072884</c:v>
                      </c:pt>
                      <c:pt idx="14">
                        <c:v>-11.304768167398535</c:v>
                      </c:pt>
                      <c:pt idx="15">
                        <c:v>-12.014449719338657</c:v>
                      </c:pt>
                      <c:pt idx="16">
                        <c:v>-13.371817150259673</c:v>
                      </c:pt>
                      <c:pt idx="17">
                        <c:v>-13.341856034231128</c:v>
                      </c:pt>
                      <c:pt idx="18">
                        <c:v>-16.473603937813692</c:v>
                      </c:pt>
                      <c:pt idx="19">
                        <c:v>-14.632658134644785</c:v>
                      </c:pt>
                      <c:pt idx="20">
                        <c:v>-13.425634978481384</c:v>
                      </c:pt>
                      <c:pt idx="21">
                        <c:v>-14.180427194224805</c:v>
                      </c:pt>
                      <c:pt idx="22">
                        <c:v>-10.800526468922868</c:v>
                      </c:pt>
                      <c:pt idx="23">
                        <c:v>-14.531396353354182</c:v>
                      </c:pt>
                      <c:pt idx="24">
                        <c:v>-18.010534809760458</c:v>
                      </c:pt>
                      <c:pt idx="25">
                        <c:v>-18.751015384336569</c:v>
                      </c:pt>
                      <c:pt idx="26">
                        <c:v>-21.082660549879478</c:v>
                      </c:pt>
                      <c:pt idx="27">
                        <c:v>-20.366791463936423</c:v>
                      </c:pt>
                      <c:pt idx="28">
                        <c:v>-17.637416506922904</c:v>
                      </c:pt>
                      <c:pt idx="29">
                        <c:v>-17.654395872208781</c:v>
                      </c:pt>
                      <c:pt idx="30">
                        <c:v>-13.730774518512433</c:v>
                      </c:pt>
                      <c:pt idx="31">
                        <c:v>-7.8889667413624238</c:v>
                      </c:pt>
                      <c:pt idx="32">
                        <c:v>-3.9618010979465339</c:v>
                      </c:pt>
                      <c:pt idx="33">
                        <c:v>2.0177286597989905</c:v>
                      </c:pt>
                      <c:pt idx="34">
                        <c:v>4.541419825087246</c:v>
                      </c:pt>
                      <c:pt idx="35">
                        <c:v>5.2853167654924675</c:v>
                      </c:pt>
                      <c:pt idx="36">
                        <c:v>7.7867484219116676</c:v>
                      </c:pt>
                      <c:pt idx="37">
                        <c:v>9.8566644135208605</c:v>
                      </c:pt>
                      <c:pt idx="38">
                        <c:v>8.3361545559303352</c:v>
                      </c:pt>
                      <c:pt idx="39">
                        <c:v>5.0114882476067919</c:v>
                      </c:pt>
                      <c:pt idx="40">
                        <c:v>3.3882880084936033</c:v>
                      </c:pt>
                      <c:pt idx="41">
                        <c:v>-1.0950888624299893</c:v>
                      </c:pt>
                      <c:pt idx="42">
                        <c:v>-3.2619271041018152</c:v>
                      </c:pt>
                      <c:pt idx="43">
                        <c:v>-6.7759852408897672</c:v>
                      </c:pt>
                      <c:pt idx="44">
                        <c:v>-14.127501527214307</c:v>
                      </c:pt>
                      <c:pt idx="45">
                        <c:v>-17.015849095151481</c:v>
                      </c:pt>
                      <c:pt idx="46">
                        <c:v>-15.804092689807135</c:v>
                      </c:pt>
                      <c:pt idx="47">
                        <c:v>-13.745418844076696</c:v>
                      </c:pt>
                      <c:pt idx="48">
                        <c:v>-10.045248215852169</c:v>
                      </c:pt>
                      <c:pt idx="49">
                        <c:v>-6.7978929072823036</c:v>
                      </c:pt>
                      <c:pt idx="50">
                        <c:v>-6.6656141642094724</c:v>
                      </c:pt>
                      <c:pt idx="51">
                        <c:v>-0.92668757840583282</c:v>
                      </c:pt>
                      <c:pt idx="52">
                        <c:v>3.5412222788078651</c:v>
                      </c:pt>
                      <c:pt idx="53">
                        <c:v>7.358692768893647</c:v>
                      </c:pt>
                      <c:pt idx="54">
                        <c:v>11.064204935658722</c:v>
                      </c:pt>
                      <c:pt idx="55">
                        <c:v>9.7877181444836765</c:v>
                      </c:pt>
                      <c:pt idx="56">
                        <c:v>7.3592509907093131</c:v>
                      </c:pt>
                      <c:pt idx="57">
                        <c:v>-0.11207921746469651</c:v>
                      </c:pt>
                      <c:pt idx="58">
                        <c:v>-7.3168434493700119</c:v>
                      </c:pt>
                      <c:pt idx="59">
                        <c:v>-15.422115457869353</c:v>
                      </c:pt>
                      <c:pt idx="60">
                        <c:v>-23.241575678344077</c:v>
                      </c:pt>
                      <c:pt idx="61">
                        <c:v>-24.451599749531923</c:v>
                      </c:pt>
                      <c:pt idx="62">
                        <c:v>-24.645616889019706</c:v>
                      </c:pt>
                      <c:pt idx="63">
                        <c:v>-20.110329072073625</c:v>
                      </c:pt>
                      <c:pt idx="64">
                        <c:v>-13.891587184152485</c:v>
                      </c:pt>
                      <c:pt idx="65">
                        <c:v>-7.1306369355796591</c:v>
                      </c:pt>
                      <c:pt idx="66">
                        <c:v>-1.9216674480054081</c:v>
                      </c:pt>
                      <c:pt idx="67">
                        <c:v>-2.199751910699689</c:v>
                      </c:pt>
                      <c:pt idx="68">
                        <c:v>-2.7605647122853725</c:v>
                      </c:pt>
                      <c:pt idx="69">
                        <c:v>-4.0916714260773261</c:v>
                      </c:pt>
                      <c:pt idx="70">
                        <c:v>0.16797482297423016</c:v>
                      </c:pt>
                      <c:pt idx="71">
                        <c:v>-0.33173670596468696</c:v>
                      </c:pt>
                      <c:pt idx="72">
                        <c:v>-2.0917623764249669</c:v>
                      </c:pt>
                      <c:pt idx="73">
                        <c:v>-3.1022659758651088</c:v>
                      </c:pt>
                      <c:pt idx="74">
                        <c:v>-10.192248990319811</c:v>
                      </c:pt>
                      <c:pt idx="75">
                        <c:v>-9.0949117530637125</c:v>
                      </c:pt>
                      <c:pt idx="76">
                        <c:v>-9.4543655820965711</c:v>
                      </c:pt>
                      <c:pt idx="77">
                        <c:v>-6.0398779275415819</c:v>
                      </c:pt>
                      <c:pt idx="78">
                        <c:v>-2.0462836634313959</c:v>
                      </c:pt>
                      <c:pt idx="79">
                        <c:v>-1.1845739763173384</c:v>
                      </c:pt>
                      <c:pt idx="80">
                        <c:v>1.4111074875432763</c:v>
                      </c:pt>
                      <c:pt idx="81">
                        <c:v>-1.1699291853977769</c:v>
                      </c:pt>
                      <c:pt idx="82">
                        <c:v>-6.6425524860417795</c:v>
                      </c:pt>
                      <c:pt idx="83">
                        <c:v>-12.662225593115537</c:v>
                      </c:pt>
                      <c:pt idx="84">
                        <c:v>-15.699277730499944</c:v>
                      </c:pt>
                      <c:pt idx="85">
                        <c:v>-20.559203753526688</c:v>
                      </c:pt>
                      <c:pt idx="86">
                        <c:v>-19.131147522222861</c:v>
                      </c:pt>
                      <c:pt idx="87">
                        <c:v>-15.065809275690825</c:v>
                      </c:pt>
                      <c:pt idx="88">
                        <c:v>-12.824695775731868</c:v>
                      </c:pt>
                      <c:pt idx="89">
                        <c:v>-8.662384395924505</c:v>
                      </c:pt>
                      <c:pt idx="90">
                        <c:v>-6.0053525932432592</c:v>
                      </c:pt>
                      <c:pt idx="91">
                        <c:v>-0.2836109380394447</c:v>
                      </c:pt>
                      <c:pt idx="92">
                        <c:v>4.4359119968507201</c:v>
                      </c:pt>
                      <c:pt idx="93">
                        <c:v>11.386000612553104</c:v>
                      </c:pt>
                      <c:pt idx="94">
                        <c:v>16.477272869032774</c:v>
                      </c:pt>
                      <c:pt idx="95">
                        <c:v>18.60465157815392</c:v>
                      </c:pt>
                      <c:pt idx="96">
                        <c:v>24.195091558190867</c:v>
                      </c:pt>
                      <c:pt idx="97">
                        <c:v>25.633853786862289</c:v>
                      </c:pt>
                      <c:pt idx="98">
                        <c:v>22.311307079141173</c:v>
                      </c:pt>
                      <c:pt idx="99">
                        <c:v>15.567108081672231</c:v>
                      </c:pt>
                      <c:pt idx="100">
                        <c:v>9.6352384541203833</c:v>
                      </c:pt>
                      <c:pt idx="101">
                        <c:v>6.2195623530155331</c:v>
                      </c:pt>
                      <c:pt idx="102">
                        <c:v>6.1587826568238597</c:v>
                      </c:pt>
                      <c:pt idx="103">
                        <c:v>1.7286375489615722</c:v>
                      </c:pt>
                      <c:pt idx="104">
                        <c:v>-1.6479006339138778</c:v>
                      </c:pt>
                      <c:pt idx="105">
                        <c:v>-7.6650842661865255</c:v>
                      </c:pt>
                      <c:pt idx="106">
                        <c:v>-14.101962477096862</c:v>
                      </c:pt>
                      <c:pt idx="107">
                        <c:v>-16.836407984101115</c:v>
                      </c:pt>
                      <c:pt idx="108">
                        <c:v>-16.713403912400736</c:v>
                      </c:pt>
                      <c:pt idx="109">
                        <c:v>-9.371536754884275</c:v>
                      </c:pt>
                      <c:pt idx="110">
                        <c:v>1.0825051741430798</c:v>
                      </c:pt>
                      <c:pt idx="111">
                        <c:v>18.039132123684865</c:v>
                      </c:pt>
                      <c:pt idx="112">
                        <c:v>34.740151404102591</c:v>
                      </c:pt>
                      <c:pt idx="113">
                        <c:v>45.241211549735141</c:v>
                      </c:pt>
                      <c:pt idx="114">
                        <c:v>48.94933605495703</c:v>
                      </c:pt>
                      <c:pt idx="115">
                        <c:v>45.06951349365599</c:v>
                      </c:pt>
                      <c:pt idx="116">
                        <c:v>39.243962749802449</c:v>
                      </c:pt>
                      <c:pt idx="117">
                        <c:v>30.649723992226683</c:v>
                      </c:pt>
                      <c:pt idx="118">
                        <c:v>26.517123191078639</c:v>
                      </c:pt>
                      <c:pt idx="119">
                        <c:v>23.393997713201628</c:v>
                      </c:pt>
                      <c:pt idx="120">
                        <c:v>21.604260197204567</c:v>
                      </c:pt>
                      <c:pt idx="121">
                        <c:v>20.024152453569272</c:v>
                      </c:pt>
                      <c:pt idx="122">
                        <c:v>14.332121103355888</c:v>
                      </c:pt>
                      <c:pt idx="123">
                        <c:v>13.128300943812121</c:v>
                      </c:pt>
                      <c:pt idx="124">
                        <c:v>13.58624034356879</c:v>
                      </c:pt>
                      <c:pt idx="125">
                        <c:v>14.773594379954318</c:v>
                      </c:pt>
                      <c:pt idx="126">
                        <c:v>19.407730810991268</c:v>
                      </c:pt>
                      <c:pt idx="127">
                        <c:v>21.420801898951652</c:v>
                      </c:pt>
                      <c:pt idx="128">
                        <c:v>27.229629833631066</c:v>
                      </c:pt>
                      <c:pt idx="129">
                        <c:v>24.191114912437456</c:v>
                      </c:pt>
                      <c:pt idx="130">
                        <c:v>24.686853753037695</c:v>
                      </c:pt>
                      <c:pt idx="131">
                        <c:v>22.428059100985394</c:v>
                      </c:pt>
                      <c:pt idx="132">
                        <c:v>13.596679476445871</c:v>
                      </c:pt>
                      <c:pt idx="133">
                        <c:v>12.771800271468365</c:v>
                      </c:pt>
                      <c:pt idx="134">
                        <c:v>10.43941357509344</c:v>
                      </c:pt>
                      <c:pt idx="135">
                        <c:v>8.6429951327441614</c:v>
                      </c:pt>
                      <c:pt idx="136">
                        <c:v>6.9967154585596063</c:v>
                      </c:pt>
                      <c:pt idx="137">
                        <c:v>9.8896828603102733</c:v>
                      </c:pt>
                      <c:pt idx="138">
                        <c:v>9.2265624737165979</c:v>
                      </c:pt>
                      <c:pt idx="139">
                        <c:v>8.3780248308145104</c:v>
                      </c:pt>
                      <c:pt idx="140">
                        <c:v>8.53521878730146</c:v>
                      </c:pt>
                      <c:pt idx="141">
                        <c:v>5.030355338726082</c:v>
                      </c:pt>
                      <c:pt idx="142">
                        <c:v>4.1036838478886466</c:v>
                      </c:pt>
                      <c:pt idx="143">
                        <c:v>1.34758613214467</c:v>
                      </c:pt>
                      <c:pt idx="144">
                        <c:v>0.7162564889517995</c:v>
                      </c:pt>
                      <c:pt idx="145">
                        <c:v>1.4201204796849822</c:v>
                      </c:pt>
                      <c:pt idx="146">
                        <c:v>0.50950347097220572</c:v>
                      </c:pt>
                      <c:pt idx="147">
                        <c:v>1.808874685367698</c:v>
                      </c:pt>
                      <c:pt idx="148">
                        <c:v>2.5030006824770794</c:v>
                      </c:pt>
                      <c:pt idx="149">
                        <c:v>0.4309083236685467</c:v>
                      </c:pt>
                      <c:pt idx="150">
                        <c:v>-0.48308066496258562</c:v>
                      </c:pt>
                      <c:pt idx="151">
                        <c:v>0.10778434880826637</c:v>
                      </c:pt>
                      <c:pt idx="152">
                        <c:v>-2.1796414726665603E-2</c:v>
                      </c:pt>
                      <c:pt idx="153">
                        <c:v>0.45698258419983517</c:v>
                      </c:pt>
                      <c:pt idx="154">
                        <c:v>0.21496182926379959</c:v>
                      </c:pt>
                      <c:pt idx="155">
                        <c:v>-0.48033221145458072</c:v>
                      </c:pt>
                      <c:pt idx="156">
                        <c:v>-1.0532356734106969</c:v>
                      </c:pt>
                      <c:pt idx="157">
                        <c:v>0.46752585702192562</c:v>
                      </c:pt>
                      <c:pt idx="158">
                        <c:v>4.6134150112020649</c:v>
                      </c:pt>
                      <c:pt idx="159">
                        <c:v>8.0859428283226435</c:v>
                      </c:pt>
                      <c:pt idx="160">
                        <c:v>10.222268077669881</c:v>
                      </c:pt>
                      <c:pt idx="161">
                        <c:v>9.6472903384476894</c:v>
                      </c:pt>
                      <c:pt idx="162">
                        <c:v>8.5129562665391205</c:v>
                      </c:pt>
                      <c:pt idx="163">
                        <c:v>5.010479206866421</c:v>
                      </c:pt>
                      <c:pt idx="164">
                        <c:v>2.8176512072170254</c:v>
                      </c:pt>
                      <c:pt idx="165">
                        <c:v>0.62953545879919659</c:v>
                      </c:pt>
                      <c:pt idx="166">
                        <c:v>-1.3738403860315032</c:v>
                      </c:pt>
                      <c:pt idx="167">
                        <c:v>-0.26293000812015066</c:v>
                      </c:pt>
                      <c:pt idx="168">
                        <c:v>1.0216477319804795</c:v>
                      </c:pt>
                      <c:pt idx="169">
                        <c:v>2.4720174748287036</c:v>
                      </c:pt>
                      <c:pt idx="170">
                        <c:v>2.8997734776642972</c:v>
                      </c:pt>
                      <c:pt idx="171">
                        <c:v>4.1083653019398128</c:v>
                      </c:pt>
                      <c:pt idx="172">
                        <c:v>5.7799428605586485</c:v>
                      </c:pt>
                      <c:pt idx="173">
                        <c:v>7.1372885522148266</c:v>
                      </c:pt>
                      <c:pt idx="174">
                        <c:v>8.1957889604132674</c:v>
                      </c:pt>
                      <c:pt idx="175">
                        <c:v>7.9100731858143973</c:v>
                      </c:pt>
                      <c:pt idx="176">
                        <c:v>8.7166031189286741</c:v>
                      </c:pt>
                      <c:pt idx="177">
                        <c:v>10.198221306377334</c:v>
                      </c:pt>
                      <c:pt idx="178">
                        <c:v>13.029597267431939</c:v>
                      </c:pt>
                      <c:pt idx="179">
                        <c:v>15.483922636534814</c:v>
                      </c:pt>
                      <c:pt idx="180">
                        <c:v>14.814266548906005</c:v>
                      </c:pt>
                      <c:pt idx="181">
                        <c:v>16.029218968599878</c:v>
                      </c:pt>
                      <c:pt idx="182">
                        <c:v>16.522111122838339</c:v>
                      </c:pt>
                      <c:pt idx="183">
                        <c:v>15.994576569777323</c:v>
                      </c:pt>
                      <c:pt idx="184">
                        <c:v>17.940569115535098</c:v>
                      </c:pt>
                      <c:pt idx="185">
                        <c:v>19.61492095959845</c:v>
                      </c:pt>
                      <c:pt idx="186">
                        <c:v>18.722203133634977</c:v>
                      </c:pt>
                      <c:pt idx="187">
                        <c:v>18.640883338958531</c:v>
                      </c:pt>
                      <c:pt idx="188">
                        <c:v>17.471663474040056</c:v>
                      </c:pt>
                      <c:pt idx="189">
                        <c:v>14.481966570215718</c:v>
                      </c:pt>
                      <c:pt idx="190">
                        <c:v>14.569488632744921</c:v>
                      </c:pt>
                      <c:pt idx="191">
                        <c:v>16.05065967034389</c:v>
                      </c:pt>
                      <c:pt idx="192">
                        <c:v>19.02377000976368</c:v>
                      </c:pt>
                      <c:pt idx="193">
                        <c:v>22.360033448092437</c:v>
                      </c:pt>
                      <c:pt idx="194">
                        <c:v>23.304046508458057</c:v>
                      </c:pt>
                      <c:pt idx="195">
                        <c:v>21.180320934856553</c:v>
                      </c:pt>
                      <c:pt idx="196">
                        <c:v>13.270611980882379</c:v>
                      </c:pt>
                      <c:pt idx="197">
                        <c:v>8.4184243549286322</c:v>
                      </c:pt>
                      <c:pt idx="198">
                        <c:v>3.8467971230457607</c:v>
                      </c:pt>
                      <c:pt idx="199">
                        <c:v>2.3406608400179891</c:v>
                      </c:pt>
                      <c:pt idx="200">
                        <c:v>6.3486439597194959</c:v>
                      </c:pt>
                      <c:pt idx="201">
                        <c:v>9.9291882413855177</c:v>
                      </c:pt>
                      <c:pt idx="202">
                        <c:v>16.956341457685809</c:v>
                      </c:pt>
                      <c:pt idx="203">
                        <c:v>23.308316590833527</c:v>
                      </c:pt>
                      <c:pt idx="204">
                        <c:v>24.83662336833099</c:v>
                      </c:pt>
                    </c:numCache>
                  </c:numRef>
                </c:val>
                <c:smooth val="1"/>
                <c:extLst xmlns:c16r2="http://schemas.microsoft.com/office/drawing/2015/06/chart">
                  <c:ext xmlns:c16="http://schemas.microsoft.com/office/drawing/2014/chart" uri="{C3380CC4-5D6E-409C-BE32-E72D297353CC}">
                    <c16:uniqueId val="{00000004-8A58-4F01-8B01-E4328FD82A9F}"/>
                  </c:ext>
                </c:extLst>
              </c15:ser>
            </c15:filteredLineSeries>
            <c15:filteredLineSeries>
              <c15:ser>
                <c:idx val="1"/>
                <c:order val="2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指数合成-1.0'!$DF$8</c15:sqref>
                        </c15:formulaRef>
                      </c:ext>
                    </c:extLst>
                    <c:strCache>
                      <c:ptCount val="1"/>
                      <c:pt idx="0">
                        <c:v>广义流通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指数合成-1.0'!$DC$165:$DC$379</c15:sqref>
                        </c15:formulaRef>
                      </c:ext>
                    </c:extLst>
                    <c:numCache>
                      <c:formatCode>yyyy\-mm\-dd</c:formatCode>
                      <c:ptCount val="215"/>
                      <c:pt idx="0">
                        <c:v>44561</c:v>
                      </c:pt>
                      <c:pt idx="1">
                        <c:v>44568</c:v>
                      </c:pt>
                      <c:pt idx="2">
                        <c:v>44575</c:v>
                      </c:pt>
                      <c:pt idx="3">
                        <c:v>44582</c:v>
                      </c:pt>
                      <c:pt idx="4">
                        <c:v>44589</c:v>
                      </c:pt>
                      <c:pt idx="5">
                        <c:v>44596</c:v>
                      </c:pt>
                      <c:pt idx="6">
                        <c:v>44603</c:v>
                      </c:pt>
                      <c:pt idx="7">
                        <c:v>44610</c:v>
                      </c:pt>
                      <c:pt idx="8">
                        <c:v>44617</c:v>
                      </c:pt>
                      <c:pt idx="9">
                        <c:v>44624</c:v>
                      </c:pt>
                      <c:pt idx="10">
                        <c:v>44631</c:v>
                      </c:pt>
                      <c:pt idx="11">
                        <c:v>44638</c:v>
                      </c:pt>
                      <c:pt idx="12">
                        <c:v>44645</c:v>
                      </c:pt>
                      <c:pt idx="13">
                        <c:v>44652</c:v>
                      </c:pt>
                      <c:pt idx="14">
                        <c:v>44659</c:v>
                      </c:pt>
                      <c:pt idx="15">
                        <c:v>44666</c:v>
                      </c:pt>
                      <c:pt idx="16">
                        <c:v>44673</c:v>
                      </c:pt>
                      <c:pt idx="17">
                        <c:v>44680</c:v>
                      </c:pt>
                      <c:pt idx="18">
                        <c:v>44687</c:v>
                      </c:pt>
                      <c:pt idx="19">
                        <c:v>44694</c:v>
                      </c:pt>
                      <c:pt idx="20">
                        <c:v>44701</c:v>
                      </c:pt>
                      <c:pt idx="21">
                        <c:v>44708</c:v>
                      </c:pt>
                      <c:pt idx="22">
                        <c:v>44715</c:v>
                      </c:pt>
                      <c:pt idx="23">
                        <c:v>44722</c:v>
                      </c:pt>
                      <c:pt idx="24">
                        <c:v>44729</c:v>
                      </c:pt>
                      <c:pt idx="25">
                        <c:v>44736</c:v>
                      </c:pt>
                      <c:pt idx="26">
                        <c:v>44743</c:v>
                      </c:pt>
                      <c:pt idx="27">
                        <c:v>44750</c:v>
                      </c:pt>
                      <c:pt idx="28">
                        <c:v>44757</c:v>
                      </c:pt>
                      <c:pt idx="29">
                        <c:v>44764</c:v>
                      </c:pt>
                      <c:pt idx="30">
                        <c:v>44771</c:v>
                      </c:pt>
                      <c:pt idx="31">
                        <c:v>44778</c:v>
                      </c:pt>
                      <c:pt idx="32">
                        <c:v>44785</c:v>
                      </c:pt>
                      <c:pt idx="33">
                        <c:v>44792</c:v>
                      </c:pt>
                      <c:pt idx="34">
                        <c:v>44799</c:v>
                      </c:pt>
                      <c:pt idx="35">
                        <c:v>44806</c:v>
                      </c:pt>
                      <c:pt idx="36">
                        <c:v>44813</c:v>
                      </c:pt>
                      <c:pt idx="37">
                        <c:v>44820</c:v>
                      </c:pt>
                      <c:pt idx="38">
                        <c:v>44827</c:v>
                      </c:pt>
                      <c:pt idx="39">
                        <c:v>44834</c:v>
                      </c:pt>
                      <c:pt idx="40">
                        <c:v>44841</c:v>
                      </c:pt>
                      <c:pt idx="41">
                        <c:v>44848</c:v>
                      </c:pt>
                      <c:pt idx="42">
                        <c:v>44855</c:v>
                      </c:pt>
                      <c:pt idx="43">
                        <c:v>44862</c:v>
                      </c:pt>
                      <c:pt idx="44">
                        <c:v>44869</c:v>
                      </c:pt>
                      <c:pt idx="45">
                        <c:v>44876</c:v>
                      </c:pt>
                      <c:pt idx="46">
                        <c:v>44883</c:v>
                      </c:pt>
                      <c:pt idx="47">
                        <c:v>44890</c:v>
                      </c:pt>
                      <c:pt idx="48">
                        <c:v>44897</c:v>
                      </c:pt>
                      <c:pt idx="49">
                        <c:v>44904</c:v>
                      </c:pt>
                      <c:pt idx="50">
                        <c:v>44911</c:v>
                      </c:pt>
                      <c:pt idx="51">
                        <c:v>44918</c:v>
                      </c:pt>
                      <c:pt idx="52">
                        <c:v>44925</c:v>
                      </c:pt>
                      <c:pt idx="53">
                        <c:v>44932</c:v>
                      </c:pt>
                      <c:pt idx="54">
                        <c:v>44939</c:v>
                      </c:pt>
                      <c:pt idx="55">
                        <c:v>44946</c:v>
                      </c:pt>
                      <c:pt idx="56">
                        <c:v>44953</c:v>
                      </c:pt>
                      <c:pt idx="57">
                        <c:v>44960</c:v>
                      </c:pt>
                      <c:pt idx="58">
                        <c:v>44967</c:v>
                      </c:pt>
                      <c:pt idx="59">
                        <c:v>44974</c:v>
                      </c:pt>
                      <c:pt idx="60">
                        <c:v>44981</c:v>
                      </c:pt>
                      <c:pt idx="61">
                        <c:v>44988</c:v>
                      </c:pt>
                      <c:pt idx="62">
                        <c:v>44995</c:v>
                      </c:pt>
                      <c:pt idx="63">
                        <c:v>45002</c:v>
                      </c:pt>
                      <c:pt idx="64">
                        <c:v>45009</c:v>
                      </c:pt>
                      <c:pt idx="65">
                        <c:v>45016</c:v>
                      </c:pt>
                      <c:pt idx="66">
                        <c:v>45023</c:v>
                      </c:pt>
                      <c:pt idx="67">
                        <c:v>45030</c:v>
                      </c:pt>
                      <c:pt idx="68">
                        <c:v>45037</c:v>
                      </c:pt>
                      <c:pt idx="69">
                        <c:v>45044</c:v>
                      </c:pt>
                      <c:pt idx="70">
                        <c:v>45051</c:v>
                      </c:pt>
                      <c:pt idx="71">
                        <c:v>45058</c:v>
                      </c:pt>
                      <c:pt idx="72">
                        <c:v>45065</c:v>
                      </c:pt>
                      <c:pt idx="73">
                        <c:v>45072</c:v>
                      </c:pt>
                      <c:pt idx="74">
                        <c:v>45079</c:v>
                      </c:pt>
                      <c:pt idx="75">
                        <c:v>45086</c:v>
                      </c:pt>
                      <c:pt idx="76">
                        <c:v>45093</c:v>
                      </c:pt>
                      <c:pt idx="77">
                        <c:v>45100</c:v>
                      </c:pt>
                      <c:pt idx="78">
                        <c:v>45107</c:v>
                      </c:pt>
                      <c:pt idx="79">
                        <c:v>45114</c:v>
                      </c:pt>
                      <c:pt idx="80">
                        <c:v>45121</c:v>
                      </c:pt>
                      <c:pt idx="81">
                        <c:v>45128</c:v>
                      </c:pt>
                      <c:pt idx="82">
                        <c:v>45135</c:v>
                      </c:pt>
                      <c:pt idx="83">
                        <c:v>45142</c:v>
                      </c:pt>
                      <c:pt idx="84">
                        <c:v>45149</c:v>
                      </c:pt>
                      <c:pt idx="85">
                        <c:v>45156</c:v>
                      </c:pt>
                      <c:pt idx="86">
                        <c:v>45163</c:v>
                      </c:pt>
                      <c:pt idx="87">
                        <c:v>45170</c:v>
                      </c:pt>
                      <c:pt idx="88">
                        <c:v>45177</c:v>
                      </c:pt>
                      <c:pt idx="89">
                        <c:v>45184</c:v>
                      </c:pt>
                      <c:pt idx="90">
                        <c:v>45191</c:v>
                      </c:pt>
                      <c:pt idx="91">
                        <c:v>45198</c:v>
                      </c:pt>
                      <c:pt idx="92">
                        <c:v>45205</c:v>
                      </c:pt>
                      <c:pt idx="93">
                        <c:v>45212</c:v>
                      </c:pt>
                      <c:pt idx="94">
                        <c:v>45219</c:v>
                      </c:pt>
                      <c:pt idx="95">
                        <c:v>45226</c:v>
                      </c:pt>
                      <c:pt idx="96">
                        <c:v>45233</c:v>
                      </c:pt>
                      <c:pt idx="97">
                        <c:v>45240</c:v>
                      </c:pt>
                      <c:pt idx="98">
                        <c:v>45247</c:v>
                      </c:pt>
                      <c:pt idx="99">
                        <c:v>45254</c:v>
                      </c:pt>
                      <c:pt idx="100">
                        <c:v>45261</c:v>
                      </c:pt>
                      <c:pt idx="101">
                        <c:v>45268</c:v>
                      </c:pt>
                      <c:pt idx="102">
                        <c:v>45275</c:v>
                      </c:pt>
                      <c:pt idx="103">
                        <c:v>45282</c:v>
                      </c:pt>
                      <c:pt idx="104">
                        <c:v>45289</c:v>
                      </c:pt>
                      <c:pt idx="105">
                        <c:v>45296</c:v>
                      </c:pt>
                      <c:pt idx="106">
                        <c:v>45303</c:v>
                      </c:pt>
                      <c:pt idx="107">
                        <c:v>45310</c:v>
                      </c:pt>
                      <c:pt idx="108">
                        <c:v>45317</c:v>
                      </c:pt>
                      <c:pt idx="109">
                        <c:v>45324</c:v>
                      </c:pt>
                      <c:pt idx="110">
                        <c:v>45331</c:v>
                      </c:pt>
                      <c:pt idx="111">
                        <c:v>45338</c:v>
                      </c:pt>
                      <c:pt idx="112">
                        <c:v>45345</c:v>
                      </c:pt>
                      <c:pt idx="113">
                        <c:v>45352</c:v>
                      </c:pt>
                      <c:pt idx="114">
                        <c:v>45359</c:v>
                      </c:pt>
                      <c:pt idx="115">
                        <c:v>45366</c:v>
                      </c:pt>
                      <c:pt idx="116">
                        <c:v>45373</c:v>
                      </c:pt>
                      <c:pt idx="117">
                        <c:v>45380</c:v>
                      </c:pt>
                      <c:pt idx="118">
                        <c:v>45387</c:v>
                      </c:pt>
                      <c:pt idx="119">
                        <c:v>45394</c:v>
                      </c:pt>
                      <c:pt idx="120">
                        <c:v>45401</c:v>
                      </c:pt>
                      <c:pt idx="121">
                        <c:v>45408</c:v>
                      </c:pt>
                      <c:pt idx="122">
                        <c:v>45415</c:v>
                      </c:pt>
                      <c:pt idx="123">
                        <c:v>45422</c:v>
                      </c:pt>
                      <c:pt idx="124">
                        <c:v>45429</c:v>
                      </c:pt>
                      <c:pt idx="125">
                        <c:v>45436</c:v>
                      </c:pt>
                      <c:pt idx="126">
                        <c:v>45443</c:v>
                      </c:pt>
                      <c:pt idx="127">
                        <c:v>45450</c:v>
                      </c:pt>
                      <c:pt idx="128">
                        <c:v>45457</c:v>
                      </c:pt>
                      <c:pt idx="129">
                        <c:v>45464</c:v>
                      </c:pt>
                      <c:pt idx="130">
                        <c:v>45471</c:v>
                      </c:pt>
                      <c:pt idx="131">
                        <c:v>45478</c:v>
                      </c:pt>
                      <c:pt idx="132">
                        <c:v>45485</c:v>
                      </c:pt>
                      <c:pt idx="133">
                        <c:v>45492</c:v>
                      </c:pt>
                      <c:pt idx="134">
                        <c:v>45499</c:v>
                      </c:pt>
                      <c:pt idx="135">
                        <c:v>45506</c:v>
                      </c:pt>
                      <c:pt idx="136">
                        <c:v>45513</c:v>
                      </c:pt>
                      <c:pt idx="137">
                        <c:v>45520</c:v>
                      </c:pt>
                      <c:pt idx="138">
                        <c:v>45527</c:v>
                      </c:pt>
                      <c:pt idx="139">
                        <c:v>45534</c:v>
                      </c:pt>
                      <c:pt idx="140">
                        <c:v>45541</c:v>
                      </c:pt>
                      <c:pt idx="141">
                        <c:v>45548</c:v>
                      </c:pt>
                      <c:pt idx="142">
                        <c:v>45555</c:v>
                      </c:pt>
                      <c:pt idx="143">
                        <c:v>45562</c:v>
                      </c:pt>
                      <c:pt idx="144">
                        <c:v>45569</c:v>
                      </c:pt>
                      <c:pt idx="145">
                        <c:v>45576</c:v>
                      </c:pt>
                      <c:pt idx="146">
                        <c:v>45583</c:v>
                      </c:pt>
                      <c:pt idx="147">
                        <c:v>45590</c:v>
                      </c:pt>
                      <c:pt idx="148">
                        <c:v>45597</c:v>
                      </c:pt>
                      <c:pt idx="149">
                        <c:v>45604</c:v>
                      </c:pt>
                      <c:pt idx="150">
                        <c:v>45611</c:v>
                      </c:pt>
                      <c:pt idx="151">
                        <c:v>45618</c:v>
                      </c:pt>
                      <c:pt idx="152">
                        <c:v>45625</c:v>
                      </c:pt>
                      <c:pt idx="153">
                        <c:v>45632</c:v>
                      </c:pt>
                      <c:pt idx="154">
                        <c:v>45639</c:v>
                      </c:pt>
                      <c:pt idx="155">
                        <c:v>45646</c:v>
                      </c:pt>
                      <c:pt idx="156">
                        <c:v>45653</c:v>
                      </c:pt>
                      <c:pt idx="157">
                        <c:v>45660</c:v>
                      </c:pt>
                      <c:pt idx="158">
                        <c:v>45667</c:v>
                      </c:pt>
                      <c:pt idx="159">
                        <c:v>45674</c:v>
                      </c:pt>
                      <c:pt idx="160">
                        <c:v>45681</c:v>
                      </c:pt>
                      <c:pt idx="161">
                        <c:v>45688</c:v>
                      </c:pt>
                      <c:pt idx="162">
                        <c:v>45695</c:v>
                      </c:pt>
                      <c:pt idx="163">
                        <c:v>45702</c:v>
                      </c:pt>
                      <c:pt idx="164">
                        <c:v>45709</c:v>
                      </c:pt>
                      <c:pt idx="165">
                        <c:v>45716</c:v>
                      </c:pt>
                      <c:pt idx="166">
                        <c:v>45723</c:v>
                      </c:pt>
                      <c:pt idx="167">
                        <c:v>45730</c:v>
                      </c:pt>
                      <c:pt idx="168">
                        <c:v>45737</c:v>
                      </c:pt>
                      <c:pt idx="169">
                        <c:v>45744</c:v>
                      </c:pt>
                      <c:pt idx="170">
                        <c:v>45751</c:v>
                      </c:pt>
                      <c:pt idx="171">
                        <c:v>45758</c:v>
                      </c:pt>
                      <c:pt idx="172">
                        <c:v>45765</c:v>
                      </c:pt>
                      <c:pt idx="173">
                        <c:v>45772</c:v>
                      </c:pt>
                      <c:pt idx="174">
                        <c:v>45779</c:v>
                      </c:pt>
                      <c:pt idx="175">
                        <c:v>45786</c:v>
                      </c:pt>
                      <c:pt idx="176">
                        <c:v>45793</c:v>
                      </c:pt>
                      <c:pt idx="177">
                        <c:v>45800</c:v>
                      </c:pt>
                      <c:pt idx="178">
                        <c:v>45807</c:v>
                      </c:pt>
                      <c:pt idx="179">
                        <c:v>45814</c:v>
                      </c:pt>
                      <c:pt idx="180">
                        <c:v>45821</c:v>
                      </c:pt>
                      <c:pt idx="181">
                        <c:v>45828</c:v>
                      </c:pt>
                      <c:pt idx="182">
                        <c:v>45835</c:v>
                      </c:pt>
                      <c:pt idx="183">
                        <c:v>45842</c:v>
                      </c:pt>
                      <c:pt idx="184">
                        <c:v>45849</c:v>
                      </c:pt>
                      <c:pt idx="185">
                        <c:v>45856</c:v>
                      </c:pt>
                      <c:pt idx="186">
                        <c:v>45863</c:v>
                      </c:pt>
                      <c:pt idx="187">
                        <c:v>45870</c:v>
                      </c:pt>
                      <c:pt idx="188">
                        <c:v>45877</c:v>
                      </c:pt>
                      <c:pt idx="189">
                        <c:v>45884</c:v>
                      </c:pt>
                      <c:pt idx="190">
                        <c:v>45891</c:v>
                      </c:pt>
                      <c:pt idx="191">
                        <c:v>45898</c:v>
                      </c:pt>
                      <c:pt idx="192">
                        <c:v>45905</c:v>
                      </c:pt>
                      <c:pt idx="193">
                        <c:v>45912</c:v>
                      </c:pt>
                      <c:pt idx="194">
                        <c:v>45919</c:v>
                      </c:pt>
                      <c:pt idx="195">
                        <c:v>45926</c:v>
                      </c:pt>
                      <c:pt idx="196">
                        <c:v>45933</c:v>
                      </c:pt>
                      <c:pt idx="197">
                        <c:v>45940</c:v>
                      </c:pt>
                      <c:pt idx="198">
                        <c:v>45947</c:v>
                      </c:pt>
                      <c:pt idx="199">
                        <c:v>45954</c:v>
                      </c:pt>
                      <c:pt idx="200">
                        <c:v>45961</c:v>
                      </c:pt>
                      <c:pt idx="201">
                        <c:v>45968</c:v>
                      </c:pt>
                      <c:pt idx="202">
                        <c:v>45975</c:v>
                      </c:pt>
                      <c:pt idx="203">
                        <c:v>45982</c:v>
                      </c:pt>
                      <c:pt idx="204">
                        <c:v>45989</c:v>
                      </c:pt>
                      <c:pt idx="205">
                        <c:v>45996</c:v>
                      </c:pt>
                    </c:numCache>
                  </c:num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指数合成-1.0'!$DF$165:$DF$369</c15:sqref>
                        </c15:formulaRef>
                      </c:ext>
                    </c:extLst>
                    <c:numCache>
                      <c:formatCode>0.0</c:formatCode>
                      <c:ptCount val="205"/>
                      <c:pt idx="0">
                        <c:v>-5.3638364322879255</c:v>
                      </c:pt>
                      <c:pt idx="1">
                        <c:v>-7.1802313120851977</c:v>
                      </c:pt>
                      <c:pt idx="2">
                        <c:v>-6.7374568005945576</c:v>
                      </c:pt>
                      <c:pt idx="3">
                        <c:v>-8.1510005462846067</c:v>
                      </c:pt>
                      <c:pt idx="4">
                        <c:v>-11.219450277596394</c:v>
                      </c:pt>
                      <c:pt idx="5">
                        <c:v>-15.938189590522924</c:v>
                      </c:pt>
                      <c:pt idx="6">
                        <c:v>-15.935351578141166</c:v>
                      </c:pt>
                      <c:pt idx="7">
                        <c:v>-5.8509702337342304</c:v>
                      </c:pt>
                      <c:pt idx="8">
                        <c:v>0.10725178894620058</c:v>
                      </c:pt>
                      <c:pt idx="9">
                        <c:v>5.3064380691607198</c:v>
                      </c:pt>
                      <c:pt idx="10">
                        <c:v>-0.81077664898720059</c:v>
                      </c:pt>
                      <c:pt idx="11">
                        <c:v>-15.432637724386183</c:v>
                      </c:pt>
                      <c:pt idx="12">
                        <c:v>-24.419181318105871</c:v>
                      </c:pt>
                      <c:pt idx="13">
                        <c:v>-29.693638621495452</c:v>
                      </c:pt>
                      <c:pt idx="14">
                        <c:v>-34.167162227654487</c:v>
                      </c:pt>
                      <c:pt idx="15">
                        <c:v>-35.609423867210282</c:v>
                      </c:pt>
                      <c:pt idx="16">
                        <c:v>-34.46284363289179</c:v>
                      </c:pt>
                      <c:pt idx="17">
                        <c:v>-32.188151694017648</c:v>
                      </c:pt>
                      <c:pt idx="18">
                        <c:v>-28.495548978973176</c:v>
                      </c:pt>
                      <c:pt idx="19">
                        <c:v>-24.166012540485497</c:v>
                      </c:pt>
                      <c:pt idx="20">
                        <c:v>-20.529614016826542</c:v>
                      </c:pt>
                      <c:pt idx="21">
                        <c:v>-15.724388492687495</c:v>
                      </c:pt>
                      <c:pt idx="22">
                        <c:v>-11.729542757521344</c:v>
                      </c:pt>
                      <c:pt idx="23">
                        <c:v>-8.8823641639771864</c:v>
                      </c:pt>
                      <c:pt idx="24">
                        <c:v>-6.1634536259849568</c:v>
                      </c:pt>
                      <c:pt idx="25">
                        <c:v>-4.0792825178445327</c:v>
                      </c:pt>
                      <c:pt idx="26">
                        <c:v>-0.59651238348595825</c:v>
                      </c:pt>
                      <c:pt idx="27">
                        <c:v>2.3075208463125421</c:v>
                      </c:pt>
                      <c:pt idx="28">
                        <c:v>3.9775777178792993</c:v>
                      </c:pt>
                      <c:pt idx="29">
                        <c:v>4.9788120894418171</c:v>
                      </c:pt>
                      <c:pt idx="30">
                        <c:v>5.6954986747990404</c:v>
                      </c:pt>
                      <c:pt idx="31">
                        <c:v>9.5740415845171754</c:v>
                      </c:pt>
                      <c:pt idx="32">
                        <c:v>13.927310430618348</c:v>
                      </c:pt>
                      <c:pt idx="33">
                        <c:v>16.634788837868015</c:v>
                      </c:pt>
                      <c:pt idx="34">
                        <c:v>14.262413536727664</c:v>
                      </c:pt>
                      <c:pt idx="35">
                        <c:v>7.3982508500541684</c:v>
                      </c:pt>
                      <c:pt idx="36">
                        <c:v>0.27633640831001571</c:v>
                      </c:pt>
                      <c:pt idx="37">
                        <c:v>-6.9675573730732054</c:v>
                      </c:pt>
                      <c:pt idx="38">
                        <c:v>-8.6605607092960639</c:v>
                      </c:pt>
                      <c:pt idx="39">
                        <c:v>-6.9439575567149205</c:v>
                      </c:pt>
                      <c:pt idx="40">
                        <c:v>-5.8272088377004536</c:v>
                      </c:pt>
                      <c:pt idx="41">
                        <c:v>-3.5247843127581433</c:v>
                      </c:pt>
                      <c:pt idx="42">
                        <c:v>-4.1410722135440921</c:v>
                      </c:pt>
                      <c:pt idx="43">
                        <c:v>-5.1230224079343145</c:v>
                      </c:pt>
                      <c:pt idx="44">
                        <c:v>-5.6092116621553032</c:v>
                      </c:pt>
                      <c:pt idx="45">
                        <c:v>-6.8562695401822538</c:v>
                      </c:pt>
                      <c:pt idx="46">
                        <c:v>-7.0777733622832528</c:v>
                      </c:pt>
                      <c:pt idx="47">
                        <c:v>-10.689493189196668</c:v>
                      </c:pt>
                      <c:pt idx="48">
                        <c:v>-13.646234472745348</c:v>
                      </c:pt>
                      <c:pt idx="49">
                        <c:v>-12.457986902671465</c:v>
                      </c:pt>
                      <c:pt idx="50">
                        <c:v>-13.206572667883449</c:v>
                      </c:pt>
                      <c:pt idx="51">
                        <c:v>-15.559179294113662</c:v>
                      </c:pt>
                      <c:pt idx="52">
                        <c:v>-16.546314542055399</c:v>
                      </c:pt>
                      <c:pt idx="53">
                        <c:v>-16.360977975821072</c:v>
                      </c:pt>
                      <c:pt idx="54">
                        <c:v>-13.737035626698443</c:v>
                      </c:pt>
                      <c:pt idx="55">
                        <c:v>-10.161095174651109</c:v>
                      </c:pt>
                      <c:pt idx="56">
                        <c:v>-10.713564639563074</c:v>
                      </c:pt>
                      <c:pt idx="57">
                        <c:v>0.37531063949751342</c:v>
                      </c:pt>
                      <c:pt idx="58">
                        <c:v>13.749214321273982</c:v>
                      </c:pt>
                      <c:pt idx="59">
                        <c:v>27.000134018606531</c:v>
                      </c:pt>
                      <c:pt idx="60">
                        <c:v>39.231987576286997</c:v>
                      </c:pt>
                      <c:pt idx="61">
                        <c:v>29.99051079027825</c:v>
                      </c:pt>
                      <c:pt idx="62">
                        <c:v>23.429530890162312</c:v>
                      </c:pt>
                      <c:pt idx="63">
                        <c:v>25.100750350867855</c:v>
                      </c:pt>
                      <c:pt idx="64">
                        <c:v>31.93911770965039</c:v>
                      </c:pt>
                      <c:pt idx="65">
                        <c:v>39.407448260179848</c:v>
                      </c:pt>
                      <c:pt idx="66">
                        <c:v>48.56755474558264</c:v>
                      </c:pt>
                      <c:pt idx="67">
                        <c:v>50.764418781903146</c:v>
                      </c:pt>
                      <c:pt idx="68">
                        <c:v>48.653894517310135</c:v>
                      </c:pt>
                      <c:pt idx="69">
                        <c:v>44.57552933239711</c:v>
                      </c:pt>
                      <c:pt idx="70">
                        <c:v>39.602253709480664</c:v>
                      </c:pt>
                      <c:pt idx="71">
                        <c:v>33.573712859642683</c:v>
                      </c:pt>
                      <c:pt idx="72">
                        <c:v>28.108017582928369</c:v>
                      </c:pt>
                      <c:pt idx="73">
                        <c:v>22.347781220336387</c:v>
                      </c:pt>
                      <c:pt idx="74">
                        <c:v>15.276169981635107</c:v>
                      </c:pt>
                      <c:pt idx="75">
                        <c:v>11.002825182447282</c:v>
                      </c:pt>
                      <c:pt idx="76">
                        <c:v>7.5851073107934752</c:v>
                      </c:pt>
                      <c:pt idx="77">
                        <c:v>3.7960095330123522</c:v>
                      </c:pt>
                      <c:pt idx="78">
                        <c:v>1.8257106396337974</c:v>
                      </c:pt>
                      <c:pt idx="79">
                        <c:v>0.77316329800333961</c:v>
                      </c:pt>
                      <c:pt idx="80">
                        <c:v>-0.10099506884345999</c:v>
                      </c:pt>
                      <c:pt idx="81">
                        <c:v>1.1984326243387216</c:v>
                      </c:pt>
                      <c:pt idx="82">
                        <c:v>1.7066609861313253</c:v>
                      </c:pt>
                      <c:pt idx="83">
                        <c:v>1.092245994988545</c:v>
                      </c:pt>
                      <c:pt idx="84">
                        <c:v>1.8839852457283541</c:v>
                      </c:pt>
                      <c:pt idx="85">
                        <c:v>3.4595851294416207</c:v>
                      </c:pt>
                      <c:pt idx="86">
                        <c:v>6.2411750883540265</c:v>
                      </c:pt>
                      <c:pt idx="87">
                        <c:v>9.7325907108390339</c:v>
                      </c:pt>
                      <c:pt idx="88">
                        <c:v>12.472268681930061</c:v>
                      </c:pt>
                      <c:pt idx="89">
                        <c:v>16.132886023463769</c:v>
                      </c:pt>
                      <c:pt idx="90">
                        <c:v>17.539134001205127</c:v>
                      </c:pt>
                      <c:pt idx="91">
                        <c:v>17.66656107584528</c:v>
                      </c:pt>
                      <c:pt idx="92">
                        <c:v>16.28227335416004</c:v>
                      </c:pt>
                      <c:pt idx="93">
                        <c:v>13.024519941041078</c:v>
                      </c:pt>
                      <c:pt idx="94">
                        <c:v>12.182036740621726</c:v>
                      </c:pt>
                      <c:pt idx="95">
                        <c:v>10.967668270007763</c:v>
                      </c:pt>
                      <c:pt idx="96">
                        <c:v>10.961807594469249</c:v>
                      </c:pt>
                      <c:pt idx="97">
                        <c:v>11.186929403191812</c:v>
                      </c:pt>
                      <c:pt idx="98">
                        <c:v>10.889492656195301</c:v>
                      </c:pt>
                      <c:pt idx="99">
                        <c:v>13.265890908166227</c:v>
                      </c:pt>
                      <c:pt idx="100">
                        <c:v>16.455872975693595</c:v>
                      </c:pt>
                      <c:pt idx="101">
                        <c:v>15.324732261624291</c:v>
                      </c:pt>
                      <c:pt idx="102">
                        <c:v>18.111527314428216</c:v>
                      </c:pt>
                      <c:pt idx="103">
                        <c:v>26.118673289918576</c:v>
                      </c:pt>
                      <c:pt idx="104">
                        <c:v>28.467888220577095</c:v>
                      </c:pt>
                      <c:pt idx="105">
                        <c:v>29.563275284280934</c:v>
                      </c:pt>
                      <c:pt idx="106">
                        <c:v>24.002691556681114</c:v>
                      </c:pt>
                      <c:pt idx="107">
                        <c:v>18.836862814267931</c:v>
                      </c:pt>
                      <c:pt idx="108">
                        <c:v>26.881091995298888</c:v>
                      </c:pt>
                      <c:pt idx="109">
                        <c:v>26.6805420619731</c:v>
                      </c:pt>
                      <c:pt idx="110">
                        <c:v>15.007310490585766</c:v>
                      </c:pt>
                      <c:pt idx="111">
                        <c:v>-10.133879949571494</c:v>
                      </c:pt>
                      <c:pt idx="112">
                        <c:v>-26.456093663348227</c:v>
                      </c:pt>
                      <c:pt idx="113">
                        <c:v>-30.051925684240857</c:v>
                      </c:pt>
                      <c:pt idx="114">
                        <c:v>-24.08934423225368</c:v>
                      </c:pt>
                      <c:pt idx="115">
                        <c:v>-12.024615318466601</c:v>
                      </c:pt>
                      <c:pt idx="116">
                        <c:v>-7.9946091209593391</c:v>
                      </c:pt>
                      <c:pt idx="117">
                        <c:v>-7.2839938500600567</c:v>
                      </c:pt>
                      <c:pt idx="118">
                        <c:v>-7.9928889558039202</c:v>
                      </c:pt>
                      <c:pt idx="119">
                        <c:v>-5.9288561104254711</c:v>
                      </c:pt>
                      <c:pt idx="120">
                        <c:v>-4.5759130686838745</c:v>
                      </c:pt>
                      <c:pt idx="121">
                        <c:v>-3.8129133248368703</c:v>
                      </c:pt>
                      <c:pt idx="122">
                        <c:v>-1.0515420053403517</c:v>
                      </c:pt>
                      <c:pt idx="123">
                        <c:v>-3.409542326010552</c:v>
                      </c:pt>
                      <c:pt idx="124">
                        <c:v>-4.0100487460818215</c:v>
                      </c:pt>
                      <c:pt idx="125">
                        <c:v>-4.2559723743830773</c:v>
                      </c:pt>
                      <c:pt idx="126">
                        <c:v>-6.2469131177043096</c:v>
                      </c:pt>
                      <c:pt idx="127">
                        <c:v>-7.3577044130327494</c:v>
                      </c:pt>
                      <c:pt idx="128">
                        <c:v>-10.612207698662374</c:v>
                      </c:pt>
                      <c:pt idx="129">
                        <c:v>-10.860295778005252</c:v>
                      </c:pt>
                      <c:pt idx="130">
                        <c:v>-12.515349056255715</c:v>
                      </c:pt>
                      <c:pt idx="131">
                        <c:v>-11.897653266827319</c:v>
                      </c:pt>
                      <c:pt idx="132">
                        <c:v>-10.789832073148204</c:v>
                      </c:pt>
                      <c:pt idx="133">
                        <c:v>-12.148351784159857</c:v>
                      </c:pt>
                      <c:pt idx="134">
                        <c:v>-11.195877311122118</c:v>
                      </c:pt>
                      <c:pt idx="135">
                        <c:v>-10.653557291723345</c:v>
                      </c:pt>
                      <c:pt idx="136">
                        <c:v>-10.219365766195835</c:v>
                      </c:pt>
                      <c:pt idx="137">
                        <c:v>-10.456974663328268</c:v>
                      </c:pt>
                      <c:pt idx="138">
                        <c:v>-10.966928657542823</c:v>
                      </c:pt>
                      <c:pt idx="139">
                        <c:v>-10.484325713208335</c:v>
                      </c:pt>
                      <c:pt idx="140">
                        <c:v>-9.5884972214324051</c:v>
                      </c:pt>
                      <c:pt idx="141">
                        <c:v>-7.5508417498142819</c:v>
                      </c:pt>
                      <c:pt idx="142">
                        <c:v>-7.9838649168919034</c:v>
                      </c:pt>
                      <c:pt idx="143">
                        <c:v>-10.171553483669598</c:v>
                      </c:pt>
                      <c:pt idx="144">
                        <c:v>-8.8237916265285605</c:v>
                      </c:pt>
                      <c:pt idx="145">
                        <c:v>-13.312877137496116</c:v>
                      </c:pt>
                      <c:pt idx="146">
                        <c:v>-11.656918011533605</c:v>
                      </c:pt>
                      <c:pt idx="147">
                        <c:v>-9.5210136839252897</c:v>
                      </c:pt>
                      <c:pt idx="148">
                        <c:v>-10.89468619483776</c:v>
                      </c:pt>
                      <c:pt idx="149">
                        <c:v>-7.2617050233761802</c:v>
                      </c:pt>
                      <c:pt idx="150">
                        <c:v>-7.8298161083955335</c:v>
                      </c:pt>
                      <c:pt idx="151">
                        <c:v>-6.9210828555757189</c:v>
                      </c:pt>
                      <c:pt idx="152">
                        <c:v>-5.4716168425064637</c:v>
                      </c:pt>
                      <c:pt idx="153">
                        <c:v>-3.4617897433210487</c:v>
                      </c:pt>
                      <c:pt idx="154">
                        <c:v>-3.9326601602738265</c:v>
                      </c:pt>
                      <c:pt idx="155">
                        <c:v>-7.2717224722480864</c:v>
                      </c:pt>
                      <c:pt idx="156">
                        <c:v>-9.4938010846788075</c:v>
                      </c:pt>
                      <c:pt idx="157">
                        <c:v>-10.380997983529014</c:v>
                      </c:pt>
                      <c:pt idx="158">
                        <c:v>-9.6540150634818644</c:v>
                      </c:pt>
                      <c:pt idx="159">
                        <c:v>-7.5949209203706118</c:v>
                      </c:pt>
                      <c:pt idx="160">
                        <c:v>-10.363890123300976</c:v>
                      </c:pt>
                      <c:pt idx="161">
                        <c:v>-19.86598297322081</c:v>
                      </c:pt>
                      <c:pt idx="162">
                        <c:v>-22.219826639760342</c:v>
                      </c:pt>
                      <c:pt idx="163">
                        <c:v>-13.627479159371831</c:v>
                      </c:pt>
                      <c:pt idx="164">
                        <c:v>-5.6771074784853823</c:v>
                      </c:pt>
                      <c:pt idx="165">
                        <c:v>6.83537742046434</c:v>
                      </c:pt>
                      <c:pt idx="166">
                        <c:v>7.4748617871811689</c:v>
                      </c:pt>
                      <c:pt idx="167">
                        <c:v>-2.6173548994203486</c:v>
                      </c:pt>
                      <c:pt idx="168">
                        <c:v>-4.9177847061429958</c:v>
                      </c:pt>
                      <c:pt idx="169">
                        <c:v>-3.9968863064000004</c:v>
                      </c:pt>
                      <c:pt idx="170">
                        <c:v>-2.6260976521029704</c:v>
                      </c:pt>
                      <c:pt idx="171">
                        <c:v>-3.9914213426113179</c:v>
                      </c:pt>
                      <c:pt idx="172">
                        <c:v>-4.5979661674433743</c:v>
                      </c:pt>
                      <c:pt idx="173">
                        <c:v>-5.7681963235942391</c:v>
                      </c:pt>
                      <c:pt idx="174">
                        <c:v>-6.8354886763524263</c:v>
                      </c:pt>
                      <c:pt idx="175">
                        <c:v>-6.4103641399098592</c:v>
                      </c:pt>
                      <c:pt idx="176">
                        <c:v>-6.0258214984673941</c:v>
                      </c:pt>
                      <c:pt idx="177">
                        <c:v>-4.9457639457095581</c:v>
                      </c:pt>
                      <c:pt idx="178">
                        <c:v>-4.5514763948255279</c:v>
                      </c:pt>
                      <c:pt idx="179">
                        <c:v>-4.1839685549881409</c:v>
                      </c:pt>
                      <c:pt idx="180">
                        <c:v>-1.7397506087570349</c:v>
                      </c:pt>
                      <c:pt idx="181">
                        <c:v>-1.6692613706914869</c:v>
                      </c:pt>
                      <c:pt idx="182">
                        <c:v>-1.6602942089317452</c:v>
                      </c:pt>
                      <c:pt idx="183">
                        <c:v>-0.23457555629707372</c:v>
                      </c:pt>
                      <c:pt idx="184">
                        <c:v>-0.26311856576238313</c:v>
                      </c:pt>
                      <c:pt idx="185">
                        <c:v>0.57611574315579617</c:v>
                      </c:pt>
                      <c:pt idx="186">
                        <c:v>1.2535811637716847</c:v>
                      </c:pt>
                      <c:pt idx="187">
                        <c:v>1.3910838115349264</c:v>
                      </c:pt>
                      <c:pt idx="188">
                        <c:v>0.12535122488488071</c:v>
                      </c:pt>
                      <c:pt idx="189">
                        <c:v>8.6333527319837344E-2</c:v>
                      </c:pt>
                      <c:pt idx="190">
                        <c:v>0.19784414715537935</c:v>
                      </c:pt>
                      <c:pt idx="191">
                        <c:v>0.22653574244890251</c:v>
                      </c:pt>
                      <c:pt idx="192">
                        <c:v>0.4548379011630459</c:v>
                      </c:pt>
                      <c:pt idx="193">
                        <c:v>9.6365906168387028E-2</c:v>
                      </c:pt>
                      <c:pt idx="194">
                        <c:v>1.7204056747986982</c:v>
                      </c:pt>
                      <c:pt idx="195">
                        <c:v>3.8462135888938747</c:v>
                      </c:pt>
                      <c:pt idx="196">
                        <c:v>6.9594724791311791</c:v>
                      </c:pt>
                      <c:pt idx="197">
                        <c:v>7.1633644020491829</c:v>
                      </c:pt>
                      <c:pt idx="198">
                        <c:v>5.7848259996705877</c:v>
                      </c:pt>
                      <c:pt idx="199">
                        <c:v>4.3372369733464495</c:v>
                      </c:pt>
                      <c:pt idx="200">
                        <c:v>2.1005145938335374</c:v>
                      </c:pt>
                      <c:pt idx="201">
                        <c:v>3.4504687771860461</c:v>
                      </c:pt>
                      <c:pt idx="202">
                        <c:v>3.1113442547368493</c:v>
                      </c:pt>
                      <c:pt idx="203">
                        <c:v>2.8056435399117703</c:v>
                      </c:pt>
                      <c:pt idx="204">
                        <c:v>1.8036861672442228</c:v>
                      </c:pt>
                    </c:numCache>
                  </c:numRef>
                </c:val>
                <c:smooth val="1"/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05-8A58-4F01-8B01-E4328FD82A9F}"/>
                  </c:ext>
                </c:extLst>
              </c15:ser>
            </c15:filteredLineSeries>
          </c:ext>
        </c:extLst>
      </c:lineChart>
      <c:dateAx>
        <c:axId val="-1290015440"/>
        <c:scaling>
          <c:orientation val="minMax"/>
          <c:min val="45444"/>
        </c:scaling>
        <c:delete val="0"/>
        <c:axPos val="b"/>
        <c:numFmt formatCode="yy/m;@" sourceLinked="0"/>
        <c:majorTickMark val="in"/>
        <c:minorTickMark val="none"/>
        <c:tickLblPos val="low"/>
        <c:spPr>
          <a:noFill/>
          <a:ln w="6350" cap="flat" cmpd="sng" algn="ctr">
            <a:solidFill>
              <a:srgbClr val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290035568"/>
        <c:crosses val="autoZero"/>
        <c:auto val="0"/>
        <c:lblOffset val="100"/>
        <c:baseTimeUnit val="days"/>
        <c:majorUnit val="2"/>
        <c:majorTimeUnit val="months"/>
      </c:dateAx>
      <c:valAx>
        <c:axId val="-1290035568"/>
        <c:scaling>
          <c:orientation val="minMax"/>
          <c:max val="60"/>
          <c:min val="-4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ysClr val="windowText" lastClr="000000">
                      <a:lumMod val="15000"/>
                      <a:lumOff val="85000"/>
                    </a:sysClr>
                  </a:solidFill>
                  <a:round/>
                </a14:hiddenLine>
              </a:ext>
            </a:extLst>
          </c:spPr>
        </c:majorGridlines>
        <c:numFmt formatCode="###,###,###,###,##0" sourceLinked="0"/>
        <c:majorTickMark val="in"/>
        <c:minorTickMark val="none"/>
        <c:tickLblPos val="nextTo"/>
        <c:spPr>
          <a:noFill/>
          <a:ln w="6350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29001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2.8794450111902379E-2"/>
          <c:y val="0.8962625786314834"/>
          <c:w val="0.9712055498880976"/>
          <c:h val="9.7557718009442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  <c:extLst xmlns:c16r2="http://schemas.microsoft.com/office/drawing/2015/06/chart"/>
  </c:chart>
  <c:spPr>
    <a:solidFill>
      <a:sysClr val="window" lastClr="FFFFFF"/>
    </a:solidFill>
    <a:ln w="9525" cap="flat" cmpd="sng" algn="ctr">
      <a:noFill/>
      <a:round/>
    </a:ln>
    <a:effectLst/>
    <a:extLst>
      <a:ext uri="{91240B29-F687-4F45-9708-019B960494DF}">
        <a14:hiddenLine xmlns:a14="http://schemas.microsoft.com/office/drawing/2010/main" w="9525" cap="flat" cmpd="sng" algn="ctr">
          <a:solidFill>
            <a:sysClr val="windowText" lastClr="000000">
              <a:lumMod val="15000"/>
              <a:lumOff val="85000"/>
            </a:sysClr>
          </a:solidFill>
          <a:round/>
        </a14:hiddenLine>
      </a:ext>
    </a:extLst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zh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72F638-0C0C-4CA8-863A-1E2917928455}" type="datetimeFigureOut">
              <a:rPr lang="zh-CN" altLang="en-US" smtClean="0"/>
              <a:t>2025/12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D096B5-0F79-4FDB-AF32-65CF87E9E62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2868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940075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79E73934-97DA-273F-E26A-3A8AC7975D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="" xmlns:a16="http://schemas.microsoft.com/office/drawing/2014/main" id="{9DD53203-5DE1-6AF9-B3D8-40161CCF74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="" xmlns:a16="http://schemas.microsoft.com/office/drawing/2014/main" id="{3928463B-B19E-C3EA-7176-052D165937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466756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F4E0AA5A-1D2D-3FA2-51D1-A48E33A044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="" xmlns:a16="http://schemas.microsoft.com/office/drawing/2014/main" id="{42285D4A-562E-A57F-39A4-D0705D536D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="" xmlns:a16="http://schemas.microsoft.com/office/drawing/2014/main" id="{9D52FEE6-6270-53D1-AF4E-143067A74A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6257393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AF8A5265-638A-ABBF-4AB4-3CF893351E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="" xmlns:a16="http://schemas.microsoft.com/office/drawing/2014/main" id="{CED5E72F-1209-0E68-AD6D-7C89D3E0BE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="" xmlns:a16="http://schemas.microsoft.com/office/drawing/2014/main" id="{E149B741-04D1-8972-B201-6BDAA4702A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9600866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412454C2-51FD-056B-2D24-0651C6795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="" xmlns:a16="http://schemas.microsoft.com/office/drawing/2014/main" id="{87C36C21-1D54-DDEE-AA56-4DBD782CA9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="" xmlns:a16="http://schemas.microsoft.com/office/drawing/2014/main" id="{A6E4C5D5-195D-CE90-EF5B-60A9B50F9C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8651485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1C730D14-2D19-A839-D88D-80B562E53A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="" xmlns:a16="http://schemas.microsoft.com/office/drawing/2014/main" id="{1AE52E52-E29E-96B8-42C4-3C1C2A18A8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="" xmlns:a16="http://schemas.microsoft.com/office/drawing/2014/main" id="{82191504-0BA0-3B0C-3E95-04D565A94C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3835965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C8854CA3-9B93-0194-66DB-33DEEE57A7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="" xmlns:a16="http://schemas.microsoft.com/office/drawing/2014/main" id="{BBD3B5AF-0DF7-D64B-E2D8-1FBB0EB02C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="" xmlns:a16="http://schemas.microsoft.com/office/drawing/2014/main" id="{DDD28D3F-A591-55D1-1793-B36B0A1819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494831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E141F672-9835-A204-9A13-6AD9B6F587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="" xmlns:a16="http://schemas.microsoft.com/office/drawing/2014/main" id="{B7C05384-3318-35F5-B213-17D8669BF0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="" xmlns:a16="http://schemas.microsoft.com/office/drawing/2014/main" id="{10E17086-8AB6-7A9E-C45E-B5198CD529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17107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84C563F2-948D-C778-15ED-E262410CF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="" xmlns:a16="http://schemas.microsoft.com/office/drawing/2014/main" id="{CFDEF9FC-2BD9-DAF3-A293-6F32754623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="" xmlns:a16="http://schemas.microsoft.com/office/drawing/2014/main" id="{4909D35D-043E-F3B6-E87D-21D428B599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9481211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20B36B02-2773-4F8E-0954-191E6AD35F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="" xmlns:a16="http://schemas.microsoft.com/office/drawing/2014/main" id="{00489E3D-2BE7-1073-396C-418F73EC77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="" xmlns:a16="http://schemas.microsoft.com/office/drawing/2014/main" id="{50E24EE1-A1EF-CCC1-9749-34DA622B9B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455631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D3577B0E-3684-D7E9-6BFA-1D2170F675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="" xmlns:a16="http://schemas.microsoft.com/office/drawing/2014/main" id="{C20AE629-2BCE-6BF7-D5BC-866D721E23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="" xmlns:a16="http://schemas.microsoft.com/office/drawing/2014/main" id="{9BC87F2B-3506-8257-6842-D7BBDBB70C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271916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5B8C8249-92DD-EE6E-48DF-585A3D079A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D49964F4-F49C-1D1F-9DC7-316165B1E5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FD846176-FB7B-EC52-44C5-399FBDF633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068745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FBE1D2DB-0683-CF1E-B7D4-D4BB591E9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="" xmlns:a16="http://schemas.microsoft.com/office/drawing/2014/main" id="{161D9173-58DC-99B8-E5C2-898F36C25D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="" xmlns:a16="http://schemas.microsoft.com/office/drawing/2014/main" id="{F43D53D2-BA95-F941-0CA3-CCF45C3072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0301528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F41ABC4F-8A45-CB6A-74F7-803D88370D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="" xmlns:a16="http://schemas.microsoft.com/office/drawing/2014/main" id="{68FF5508-A5C8-C8D7-7924-1D9094FAE0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="" xmlns:a16="http://schemas.microsoft.com/office/drawing/2014/main" id="{9B4A71CE-B34F-6FD4-A5FC-795E55D0ED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635301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258ABD83-19D4-1EB7-2A77-CBDF660C03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="" xmlns:a16="http://schemas.microsoft.com/office/drawing/2014/main" id="{606B54B7-CAAF-0F55-D042-9056B9CBE7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="" xmlns:a16="http://schemas.microsoft.com/office/drawing/2014/main" id="{1B40421A-706F-71EA-6A24-5FCA41F57D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5218035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image" Target="../media/image4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7.vml"/><Relationship Id="rId6" Type="http://schemas.openxmlformats.org/officeDocument/2006/relationships/tags" Target="../tags/tag52.xml"/><Relationship Id="rId11" Type="http://schemas.openxmlformats.org/officeDocument/2006/relationships/image" Target="../media/image3.emf"/><Relationship Id="rId5" Type="http://schemas.openxmlformats.org/officeDocument/2006/relationships/tags" Target="../tags/tag51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image" Target="../media/image2.emf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oleObject" Target="../embeddings/oleObject8.bin"/><Relationship Id="rId2" Type="http://schemas.openxmlformats.org/officeDocument/2006/relationships/tags" Target="../tags/tag55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8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4.jpeg"/><Relationship Id="rId2" Type="http://schemas.openxmlformats.org/officeDocument/2006/relationships/tags" Target="../tags/tag69.xml"/><Relationship Id="rId1" Type="http://schemas.openxmlformats.org/officeDocument/2006/relationships/vmlDrawing" Target="../drawings/vmlDrawing9.vml"/><Relationship Id="rId6" Type="http://schemas.openxmlformats.org/officeDocument/2006/relationships/tags" Target="../tags/tag73.xml"/><Relationship Id="rId11" Type="http://schemas.openxmlformats.org/officeDocument/2006/relationships/image" Target="../media/image2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7.xml"/><Relationship Id="rId7" Type="http://schemas.openxmlformats.org/officeDocument/2006/relationships/oleObject" Target="../embeddings/oleObject3.bin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4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4.vml"/><Relationship Id="rId6" Type="http://schemas.openxmlformats.org/officeDocument/2006/relationships/tags" Target="../tags/tag34.xml"/><Relationship Id="rId11" Type="http://schemas.openxmlformats.org/officeDocument/2006/relationships/image" Target="../media/image4.jpeg"/><Relationship Id="rId5" Type="http://schemas.openxmlformats.org/officeDocument/2006/relationships/tags" Target="../tags/tag33.xml"/><Relationship Id="rId10" Type="http://schemas.openxmlformats.org/officeDocument/2006/relationships/image" Target="../media/image3.emf"/><Relationship Id="rId4" Type="http://schemas.openxmlformats.org/officeDocument/2006/relationships/tags" Target="../tags/tag32.xml"/><Relationship Id="rId9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5.vml"/><Relationship Id="rId6" Type="http://schemas.openxmlformats.org/officeDocument/2006/relationships/tags" Target="../tags/tag40.xml"/><Relationship Id="rId11" Type="http://schemas.openxmlformats.org/officeDocument/2006/relationships/image" Target="../media/image4.jpeg"/><Relationship Id="rId5" Type="http://schemas.openxmlformats.org/officeDocument/2006/relationships/tags" Target="../tags/tag39.xml"/><Relationship Id="rId10" Type="http://schemas.openxmlformats.org/officeDocument/2006/relationships/image" Target="../media/image3.emf"/><Relationship Id="rId4" Type="http://schemas.openxmlformats.org/officeDocument/2006/relationships/tags" Target="../tags/tag38.xml"/><Relationship Id="rId9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6" Type="http://schemas.openxmlformats.org/officeDocument/2006/relationships/tags" Target="../tags/tag46.xml"/><Relationship Id="rId11" Type="http://schemas.openxmlformats.org/officeDocument/2006/relationships/image" Target="../media/image4.jpeg"/><Relationship Id="rId5" Type="http://schemas.openxmlformats.org/officeDocument/2006/relationships/tags" Target="../tags/tag45.xml"/><Relationship Id="rId10" Type="http://schemas.openxmlformats.org/officeDocument/2006/relationships/image" Target="../media/image3.emf"/><Relationship Id="rId4" Type="http://schemas.openxmlformats.org/officeDocument/2006/relationships/tags" Target="../tags/tag44.xml"/><Relationship Id="rId9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正文级别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2" name="矩形 1">
            <a:extLst>
              <a:ext uri="{FF2B5EF4-FFF2-40B4-BE49-F238E27FC236}">
                <a16:creationId xmlns="" xmlns:a16="http://schemas.microsoft.com/office/drawing/2014/main" id="{1B886ADE-170E-4534-B96C-087F9784B8E3}"/>
              </a:ext>
            </a:extLst>
          </p:cNvPr>
          <p:cNvSpPr/>
          <p:nvPr userDrawn="1"/>
        </p:nvSpPr>
        <p:spPr>
          <a:xfrm>
            <a:off x="11884121" y="6060525"/>
            <a:ext cx="307879" cy="1107990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indent="0" algn="l" defTabSz="325111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6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16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1866060" y="6426314"/>
            <a:ext cx="344001" cy="338550"/>
          </a:xfrm>
          <a:prstGeom prst="rect">
            <a:avLst/>
          </a:prstGeo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fld id="{86CB4B4D-7CA3-9044-876B-883B54F8677D}" type="slidenum">
              <a:rPr lang="en-US" altLang="zh-CN" smtClean="0"/>
              <a:pPr/>
              <a:t>‹#›</a:t>
            </a:fld>
            <a:endParaRPr lang="en-US" altLang="zh-CN"/>
          </a:p>
        </p:txBody>
      </p:sp>
      <p:sp>
        <p:nvSpPr>
          <p:cNvPr id="3" name="矩形 2">
            <a:extLst>
              <a:ext uri="{FF2B5EF4-FFF2-40B4-BE49-F238E27FC236}">
                <a16:creationId xmlns="" xmlns:a16="http://schemas.microsoft.com/office/drawing/2014/main" id="{5297D44C-0E92-9818-E288-8325D26FDA9A}"/>
              </a:ext>
            </a:extLst>
          </p:cNvPr>
          <p:cNvSpPr/>
          <p:nvPr userDrawn="1"/>
        </p:nvSpPr>
        <p:spPr>
          <a:xfrm>
            <a:off x="11884121" y="6060525"/>
            <a:ext cx="307879" cy="1107990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indent="0" algn="l" defTabSz="325111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6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4" name="灯片编号占位符 5">
            <a:extLst>
              <a:ext uri="{FF2B5EF4-FFF2-40B4-BE49-F238E27FC236}">
                <a16:creationId xmlns="" xmlns:a16="http://schemas.microsoft.com/office/drawing/2014/main" id="{7E1C5E21-E61D-C3CB-34FF-3E09648C4481}"/>
              </a:ext>
            </a:extLst>
          </p:cNvPr>
          <p:cNvSpPr txBox="1">
            <a:spLocks/>
          </p:cNvSpPr>
          <p:nvPr userDrawn="1"/>
        </p:nvSpPr>
        <p:spPr>
          <a:xfrm>
            <a:off x="11843915" y="6371039"/>
            <a:ext cx="374776" cy="369326"/>
          </a:xfrm>
          <a:prstGeom prst="rect">
            <a:avLst/>
          </a:prstGeom>
          <a:ln w="12700">
            <a:miter lim="400000"/>
          </a:ln>
        </p:spPr>
        <p:txBody>
          <a:bodyPr wrap="none" lIns="60957" tIns="60957" rIns="60957" bIns="60957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0C913308-F349-4B6D-A68A-DD1791B4A57B}" type="slidenum">
              <a:rPr lang="zh-CN" altLang="en-US" sz="1600" smtClean="0"/>
              <a:pPr/>
              <a:t>‹#›</a:t>
            </a:fld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847949113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F350A0C1-CF1E-0751-8FF6-CE1996830179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5" name="Picture 7" descr="C:\Users\Administrator\Desktop\嘎\新建文件夹\百年资产PPT嘎111-04.jpg">
              <a:extLst>
                <a:ext uri="{FF2B5EF4-FFF2-40B4-BE49-F238E27FC236}">
                  <a16:creationId xmlns="" xmlns:a16="http://schemas.microsoft.com/office/drawing/2014/main" id="{C3B91C98-11E2-8198-7388-68181B81B6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DE7260A3-EE63-DE36-D5EE-34CA4C6CD35F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34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=""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=""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=""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=""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=""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5970725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2500" b="1" dirty="0" err="1">
              <a:solidFill>
                <a:srgbClr val="FFFFFF"/>
              </a:solidFill>
              <a:latin typeface="Georgia" panose="02040502050405020303" pitchFamily="18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=""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solidFill>
                <a:srgbClr val="F0F0F0"/>
              </a:solidFill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=""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74565" y="6499381"/>
            <a:ext cx="107080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>
              <a:defRPr/>
            </a:pPr>
            <a:r>
              <a:rPr lang="en-US" altLang="zh-CN" sz="900" dirty="0" err="1">
                <a:solidFill>
                  <a:srgbClr val="000000"/>
                </a:solidFill>
                <a:cs typeface="Arial" panose="020B0604020202020204" pitchFamily="34" charset="0"/>
              </a:rPr>
              <a:t>McKinsey&amp;Company</a:t>
            </a:r>
            <a:endParaRPr lang="en-US" altLang="zh-CN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=""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altLang="zh-CN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zh-CN" alt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=""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=""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=""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=""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=""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zh-CN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altLang="en-US" sz="800">
                <a:solidFill>
                  <a:srgbClr val="000000"/>
                </a:solidFill>
              </a:rPr>
              <a:t>资料来源：</a:t>
            </a:r>
            <a:r>
              <a:rPr lang="en-US" altLang="zh-CN" sz="80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20" name="2. Slide Title">
            <a:extLst>
              <a:ext uri="{FF2B5EF4-FFF2-40B4-BE49-F238E27FC236}">
                <a16:creationId xmlns="" xmlns:a16="http://schemas.microsoft.com/office/drawing/2014/main" id="{24FC89B9-27D6-473D-93DF-880226F4C89E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dirty="0"/>
          </a:p>
        </p:txBody>
      </p:sp>
      <p:sp>
        <p:nvSpPr>
          <p:cNvPr id="21" name="3. Subtitle">
            <a:extLst>
              <a:ext uri="{FF2B5EF4-FFF2-40B4-BE49-F238E27FC236}">
                <a16:creationId xmlns="" xmlns:a16="http://schemas.microsoft.com/office/drawing/2014/main" id="{63337359-D43D-43A2-84F1-8094F8635AB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altLang="zh-CN" sz="1600"/>
              <a:t>Click to edit Master subtitle style</a:t>
            </a:r>
            <a:endParaRPr lang="zh-CN" sz="1600" dirty="0"/>
          </a:p>
        </p:txBody>
      </p:sp>
      <p:sp>
        <p:nvSpPr>
          <p:cNvPr id="25" name="1. On-page tracker">
            <a:extLst>
              <a:ext uri="{FF2B5EF4-FFF2-40B4-BE49-F238E27FC236}">
                <a16:creationId xmlns="" xmlns:a16="http://schemas.microsoft.com/office/drawing/2014/main" id="{E56FBB8C-4E9C-4207-9A79-5E0466E3B3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zh-CN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7353373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=""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=""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48DE95B4-AE0C-7EEC-4C08-E3F3FC75B621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4" name="Picture 7" descr="C:\Users\Administrator\Desktop\嘎\新建文件夹\百年资产PPT嘎111-04.jpg">
              <a:extLst>
                <a:ext uri="{FF2B5EF4-FFF2-40B4-BE49-F238E27FC236}">
                  <a16:creationId xmlns="" xmlns:a16="http://schemas.microsoft.com/office/drawing/2014/main" id="{A5A449F4-9A94-8C4C-4BB5-56A0788520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="" xmlns:a16="http://schemas.microsoft.com/office/drawing/2014/main" id="{C61C9440-2E33-5BEB-02DF-A72A9F978542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5" name="Rectangle 1" hidden="1">
            <a:extLst>
              <a:ext uri="{FF2B5EF4-FFF2-40B4-BE49-F238E27FC236}">
                <a16:creationId xmlns=""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=""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9121699" cy="54541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=""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=""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FFFFFF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=""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=""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141657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任意多边形: 形状 47">
            <a:extLst>
              <a:ext uri="{FF2B5EF4-FFF2-40B4-BE49-F238E27FC236}">
                <a16:creationId xmlns="" xmlns:a16="http://schemas.microsoft.com/office/drawing/2014/main" id="{C3786B9E-054E-4287-B177-412FFEADC2D3}"/>
              </a:ext>
            </a:extLst>
          </p:cNvPr>
          <p:cNvSpPr/>
          <p:nvPr userDrawn="1"/>
        </p:nvSpPr>
        <p:spPr>
          <a:xfrm flipH="1">
            <a:off x="-4475" y="711200"/>
            <a:ext cx="5174550" cy="6146800"/>
          </a:xfrm>
          <a:custGeom>
            <a:avLst/>
            <a:gdLst>
              <a:gd name="connsiteX0" fmla="*/ 1730139 w 5174550"/>
              <a:gd name="connsiteY0" fmla="*/ 0 h 6146800"/>
              <a:gd name="connsiteX1" fmla="*/ 785190 w 5174550"/>
              <a:gd name="connsiteY1" fmla="*/ 0 h 6146800"/>
              <a:gd name="connsiteX2" fmla="*/ 510939 w 5174550"/>
              <a:gd name="connsiteY2" fmla="*/ 0 h 6146800"/>
              <a:gd name="connsiteX3" fmla="*/ 434009 w 5174550"/>
              <a:gd name="connsiteY3" fmla="*/ 0 h 6146800"/>
              <a:gd name="connsiteX4" fmla="*/ 0 w 5174550"/>
              <a:gd name="connsiteY4" fmla="*/ 774522 h 6146800"/>
              <a:gd name="connsiteX5" fmla="*/ 3010401 w 5174550"/>
              <a:gd name="connsiteY5" fmla="*/ 6146800 h 6146800"/>
              <a:gd name="connsiteX6" fmla="*/ 3955350 w 5174550"/>
              <a:gd name="connsiteY6" fmla="*/ 6146800 h 6146800"/>
              <a:gd name="connsiteX7" fmla="*/ 4229601 w 5174550"/>
              <a:gd name="connsiteY7" fmla="*/ 6146800 h 6146800"/>
              <a:gd name="connsiteX8" fmla="*/ 5174550 w 5174550"/>
              <a:gd name="connsiteY8" fmla="*/ 6146800 h 614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74550" h="6146800">
                <a:moveTo>
                  <a:pt x="1730139" y="0"/>
                </a:moveTo>
                <a:lnTo>
                  <a:pt x="785190" y="0"/>
                </a:lnTo>
                <a:lnTo>
                  <a:pt x="510939" y="0"/>
                </a:lnTo>
                <a:lnTo>
                  <a:pt x="434009" y="0"/>
                </a:lnTo>
                <a:lnTo>
                  <a:pt x="0" y="774522"/>
                </a:lnTo>
                <a:lnTo>
                  <a:pt x="3010401" y="6146800"/>
                </a:lnTo>
                <a:lnTo>
                  <a:pt x="3955350" y="6146800"/>
                </a:lnTo>
                <a:lnTo>
                  <a:pt x="4229601" y="6146800"/>
                </a:lnTo>
                <a:lnTo>
                  <a:pt x="5174550" y="614680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 dirty="0">
              <a:solidFill>
                <a:srgbClr val="000000"/>
              </a:solidFill>
            </a:endParaRPr>
          </a:p>
        </p:txBody>
      </p:sp>
      <p:sp>
        <p:nvSpPr>
          <p:cNvPr id="31" name="Rectangle 2_2">
            <a:extLst>
              <a:ext uri="{FF2B5EF4-FFF2-40B4-BE49-F238E27FC236}">
                <a16:creationId xmlns="" xmlns:a16="http://schemas.microsoft.com/office/drawing/2014/main" id="{A56AC786-B6DF-470F-A893-22C4416AA79F}"/>
              </a:ext>
            </a:extLst>
          </p:cNvPr>
          <p:cNvSpPr/>
          <p:nvPr userDrawn="1"/>
        </p:nvSpPr>
        <p:spPr>
          <a:xfrm>
            <a:off x="0" y="1462175"/>
            <a:ext cx="12192000" cy="3322769"/>
          </a:xfrm>
          <a:prstGeom prst="rect">
            <a:avLst/>
          </a:prstGeom>
          <a:blipFill>
            <a:blip r:embed="rId2"/>
            <a:stretch>
              <a:fillRect t="-225861" b="-22414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7" name="任意多边形: 形状 16">
            <a:extLst>
              <a:ext uri="{FF2B5EF4-FFF2-40B4-BE49-F238E27FC236}">
                <a16:creationId xmlns="" xmlns:a16="http://schemas.microsoft.com/office/drawing/2014/main" id="{DBC81850-0FE5-46C6-B952-F1700C2104EF}"/>
              </a:ext>
            </a:extLst>
          </p:cNvPr>
          <p:cNvSpPr/>
          <p:nvPr/>
        </p:nvSpPr>
        <p:spPr>
          <a:xfrm rot="292154">
            <a:off x="4603891" y="5539278"/>
            <a:ext cx="1326105" cy="1327954"/>
          </a:xfrm>
          <a:custGeom>
            <a:avLst/>
            <a:gdLst>
              <a:gd name="connsiteX0" fmla="*/ 823782 w 1326105"/>
              <a:gd name="connsiteY0" fmla="*/ 494129 h 1327954"/>
              <a:gd name="connsiteX1" fmla="*/ 893587 w 1326105"/>
              <a:gd name="connsiteY1" fmla="*/ 528419 h 1327954"/>
              <a:gd name="connsiteX2" fmla="*/ 1326105 w 1326105"/>
              <a:gd name="connsiteY2" fmla="*/ 1276011 h 1327954"/>
              <a:gd name="connsiteX3" fmla="*/ 1170834 w 1326105"/>
              <a:gd name="connsiteY3" fmla="*/ 1289239 h 1327954"/>
              <a:gd name="connsiteX4" fmla="*/ 771122 w 1326105"/>
              <a:gd name="connsiteY4" fmla="*/ 599449 h 1327954"/>
              <a:gd name="connsiteX5" fmla="*/ 796840 w 1326105"/>
              <a:gd name="connsiteY5" fmla="*/ 502703 h 1327954"/>
              <a:gd name="connsiteX6" fmla="*/ 823782 w 1326105"/>
              <a:gd name="connsiteY6" fmla="*/ 494129 h 1327954"/>
              <a:gd name="connsiteX7" fmla="*/ 62053 w 1326105"/>
              <a:gd name="connsiteY7" fmla="*/ 598 h 1327954"/>
              <a:gd name="connsiteX8" fmla="*/ 131858 w 1326105"/>
              <a:gd name="connsiteY8" fmla="*/ 34888 h 1327954"/>
              <a:gd name="connsiteX9" fmla="*/ 871615 w 1326105"/>
              <a:gd name="connsiteY9" fmla="*/ 1314729 h 1327954"/>
              <a:gd name="connsiteX10" fmla="*/ 716377 w 1326105"/>
              <a:gd name="connsiteY10" fmla="*/ 1327954 h 1327954"/>
              <a:gd name="connsiteX11" fmla="*/ 9393 w 1326105"/>
              <a:gd name="connsiteY11" fmla="*/ 105918 h 1327954"/>
              <a:gd name="connsiteX12" fmla="*/ 35111 w 1326105"/>
              <a:gd name="connsiteY12" fmla="*/ 9171 h 1327954"/>
              <a:gd name="connsiteX13" fmla="*/ 62053 w 1326105"/>
              <a:gd name="connsiteY13" fmla="*/ 598 h 1327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26105" h="1327954">
                <a:moveTo>
                  <a:pt x="823782" y="494129"/>
                </a:moveTo>
                <a:cubicBezTo>
                  <a:pt x="850724" y="490456"/>
                  <a:pt x="878891" y="503926"/>
                  <a:pt x="893587" y="528419"/>
                </a:cubicBezTo>
                <a:lnTo>
                  <a:pt x="1326105" y="1276011"/>
                </a:lnTo>
                <a:lnTo>
                  <a:pt x="1170834" y="1289239"/>
                </a:lnTo>
                <a:lnTo>
                  <a:pt x="771122" y="599449"/>
                </a:lnTo>
                <a:cubicBezTo>
                  <a:pt x="751528" y="565160"/>
                  <a:pt x="763773" y="522296"/>
                  <a:pt x="796840" y="502703"/>
                </a:cubicBezTo>
                <a:cubicBezTo>
                  <a:pt x="805411" y="497803"/>
                  <a:pt x="815209" y="495354"/>
                  <a:pt x="823782" y="494129"/>
                </a:cubicBezTo>
                <a:close/>
                <a:moveTo>
                  <a:pt x="62053" y="598"/>
                </a:moveTo>
                <a:cubicBezTo>
                  <a:pt x="88995" y="-3076"/>
                  <a:pt x="117162" y="10395"/>
                  <a:pt x="131858" y="34888"/>
                </a:cubicBezTo>
                <a:lnTo>
                  <a:pt x="871615" y="1314729"/>
                </a:lnTo>
                <a:lnTo>
                  <a:pt x="716377" y="1327954"/>
                </a:lnTo>
                <a:lnTo>
                  <a:pt x="9393" y="105918"/>
                </a:lnTo>
                <a:cubicBezTo>
                  <a:pt x="-10201" y="71627"/>
                  <a:pt x="2046" y="28765"/>
                  <a:pt x="35111" y="9171"/>
                </a:cubicBezTo>
                <a:cubicBezTo>
                  <a:pt x="43683" y="5497"/>
                  <a:pt x="52256" y="1823"/>
                  <a:pt x="62053" y="598"/>
                </a:cubicBezTo>
                <a:close/>
              </a:path>
            </a:pathLst>
          </a:custGeom>
          <a:solidFill>
            <a:schemeClr val="accent1"/>
          </a:solidFill>
          <a:ln w="1224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2" name="任意多边形: 形状 41">
            <a:extLst>
              <a:ext uri="{FF2B5EF4-FFF2-40B4-BE49-F238E27FC236}">
                <a16:creationId xmlns="" xmlns:a16="http://schemas.microsoft.com/office/drawing/2014/main" id="{722397EE-1B46-4D59-8023-33A16FD188F2}"/>
              </a:ext>
            </a:extLst>
          </p:cNvPr>
          <p:cNvSpPr/>
          <p:nvPr userDrawn="1"/>
        </p:nvSpPr>
        <p:spPr>
          <a:xfrm>
            <a:off x="5155368" y="1462175"/>
            <a:ext cx="7036633" cy="3322769"/>
          </a:xfrm>
          <a:custGeom>
            <a:avLst/>
            <a:gdLst>
              <a:gd name="connsiteX0" fmla="*/ 0 w 7036633"/>
              <a:gd name="connsiteY0" fmla="*/ 0 h 3322769"/>
              <a:gd name="connsiteX1" fmla="*/ 1888662 w 7036633"/>
              <a:gd name="connsiteY1" fmla="*/ 0 h 3322769"/>
              <a:gd name="connsiteX2" fmla="*/ 5508033 w 7036633"/>
              <a:gd name="connsiteY2" fmla="*/ 0 h 3322769"/>
              <a:gd name="connsiteX3" fmla="*/ 7036633 w 7036633"/>
              <a:gd name="connsiteY3" fmla="*/ 0 h 3322769"/>
              <a:gd name="connsiteX4" fmla="*/ 7036633 w 7036633"/>
              <a:gd name="connsiteY4" fmla="*/ 3322769 h 3322769"/>
              <a:gd name="connsiteX5" fmla="*/ 5508033 w 7036633"/>
              <a:gd name="connsiteY5" fmla="*/ 3322769 h 3322769"/>
              <a:gd name="connsiteX6" fmla="*/ 1888662 w 7036633"/>
              <a:gd name="connsiteY6" fmla="*/ 3322769 h 3322769"/>
              <a:gd name="connsiteX7" fmla="*/ 1861942 w 7036633"/>
              <a:gd name="connsiteY7" fmla="*/ 3322769 h 3322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36633" h="3322769">
                <a:moveTo>
                  <a:pt x="0" y="0"/>
                </a:moveTo>
                <a:lnTo>
                  <a:pt x="1888662" y="0"/>
                </a:lnTo>
                <a:lnTo>
                  <a:pt x="5508033" y="0"/>
                </a:lnTo>
                <a:lnTo>
                  <a:pt x="7036633" y="0"/>
                </a:lnTo>
                <a:lnTo>
                  <a:pt x="7036633" y="3322769"/>
                </a:lnTo>
                <a:lnTo>
                  <a:pt x="5508033" y="3322769"/>
                </a:lnTo>
                <a:lnTo>
                  <a:pt x="1888662" y="3322769"/>
                </a:lnTo>
                <a:lnTo>
                  <a:pt x="1861942" y="3322769"/>
                </a:lnTo>
                <a:close/>
              </a:path>
            </a:pathLst>
          </a:cu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="" xmlns:a16="http://schemas.microsoft.com/office/drawing/2014/main" id="{8CB6C888-C368-4B4D-B6DF-F885839E6082}"/>
              </a:ext>
            </a:extLst>
          </p:cNvPr>
          <p:cNvSpPr/>
          <p:nvPr userDrawn="1"/>
        </p:nvSpPr>
        <p:spPr>
          <a:xfrm>
            <a:off x="3515351" y="711200"/>
            <a:ext cx="3503186" cy="4075938"/>
          </a:xfrm>
          <a:custGeom>
            <a:avLst/>
            <a:gdLst>
              <a:gd name="connsiteX0" fmla="*/ 0 w 3503186"/>
              <a:gd name="connsiteY0" fmla="*/ 0 h 4075938"/>
              <a:gd name="connsiteX1" fmla="*/ 1219200 w 3503186"/>
              <a:gd name="connsiteY1" fmla="*/ 0 h 4075938"/>
              <a:gd name="connsiteX2" fmla="*/ 3503186 w 3503186"/>
              <a:gd name="connsiteY2" fmla="*/ 4075938 h 4075938"/>
              <a:gd name="connsiteX3" fmla="*/ 2283986 w 3503186"/>
              <a:gd name="connsiteY3" fmla="*/ 4075938 h 4075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3186" h="4075938">
                <a:moveTo>
                  <a:pt x="0" y="0"/>
                </a:moveTo>
                <a:lnTo>
                  <a:pt x="1219200" y="0"/>
                </a:lnTo>
                <a:lnTo>
                  <a:pt x="3503186" y="4075938"/>
                </a:lnTo>
                <a:lnTo>
                  <a:pt x="2283986" y="407593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 dirty="0">
              <a:solidFill>
                <a:srgbClr val="000000"/>
              </a:solidFill>
            </a:endParaRPr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0718" y="4198723"/>
            <a:ext cx="10850563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>
            <p:ph type="ctrTitle"/>
          </p:nvPr>
        </p:nvSpPr>
        <p:spPr>
          <a:xfrm>
            <a:off x="670718" y="1253273"/>
            <a:ext cx="10850563" cy="2945450"/>
          </a:xfrm>
        </p:spPr>
        <p:txBody>
          <a:bodyPr anchor="b">
            <a:normAutofit/>
          </a:bodyPr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345939" y="5386788"/>
            <a:ext cx="517455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345939" y="5683059"/>
            <a:ext cx="517455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9" name="任意多边形: 形状 18">
            <a:extLst>
              <a:ext uri="{FF2B5EF4-FFF2-40B4-BE49-F238E27FC236}">
                <a16:creationId xmlns="" xmlns:a16="http://schemas.microsoft.com/office/drawing/2014/main" id="{E97F587D-D75D-4A24-AE8A-BC365E49382D}"/>
              </a:ext>
            </a:extLst>
          </p:cNvPr>
          <p:cNvSpPr/>
          <p:nvPr userDrawn="1"/>
        </p:nvSpPr>
        <p:spPr>
          <a:xfrm rot="292154">
            <a:off x="9126227" y="13973"/>
            <a:ext cx="1711524" cy="1994582"/>
          </a:xfrm>
          <a:custGeom>
            <a:avLst/>
            <a:gdLst>
              <a:gd name="connsiteX0" fmla="*/ 455195 w 1711524"/>
              <a:gd name="connsiteY0" fmla="*/ 13225 h 1994582"/>
              <a:gd name="connsiteX1" fmla="*/ 610432 w 1711524"/>
              <a:gd name="connsiteY1" fmla="*/ 0 h 1994582"/>
              <a:gd name="connsiteX2" fmla="*/ 1702131 w 1711524"/>
              <a:gd name="connsiteY2" fmla="*/ 1888442 h 1994582"/>
              <a:gd name="connsiteX3" fmla="*/ 1676414 w 1711524"/>
              <a:gd name="connsiteY3" fmla="*/ 1985189 h 1994582"/>
              <a:gd name="connsiteX4" fmla="*/ 1579666 w 1711524"/>
              <a:gd name="connsiteY4" fmla="*/ 1959471 h 1994582"/>
              <a:gd name="connsiteX5" fmla="*/ 0 w 1711524"/>
              <a:gd name="connsiteY5" fmla="*/ 52002 h 1994582"/>
              <a:gd name="connsiteX6" fmla="*/ 155252 w 1711524"/>
              <a:gd name="connsiteY6" fmla="*/ 38776 h 1994582"/>
              <a:gd name="connsiteX7" fmla="*/ 940403 w 1711524"/>
              <a:gd name="connsiteY7" fmla="*/ 1396136 h 1994582"/>
              <a:gd name="connsiteX8" fmla="*/ 914685 w 1711524"/>
              <a:gd name="connsiteY8" fmla="*/ 1492882 h 1994582"/>
              <a:gd name="connsiteX9" fmla="*/ 817938 w 1711524"/>
              <a:gd name="connsiteY9" fmla="*/ 1467165 h 1994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1524" h="1994582">
                <a:moveTo>
                  <a:pt x="455195" y="13225"/>
                </a:moveTo>
                <a:lnTo>
                  <a:pt x="610432" y="0"/>
                </a:lnTo>
                <a:lnTo>
                  <a:pt x="1702131" y="1888442"/>
                </a:lnTo>
                <a:cubicBezTo>
                  <a:pt x="1721725" y="1922732"/>
                  <a:pt x="1709479" y="1965595"/>
                  <a:pt x="1676414" y="1985189"/>
                </a:cubicBezTo>
                <a:cubicBezTo>
                  <a:pt x="1642123" y="2004783"/>
                  <a:pt x="1599261" y="1992537"/>
                  <a:pt x="1579666" y="1959471"/>
                </a:cubicBezTo>
                <a:close/>
                <a:moveTo>
                  <a:pt x="0" y="52002"/>
                </a:moveTo>
                <a:lnTo>
                  <a:pt x="155252" y="38776"/>
                </a:lnTo>
                <a:lnTo>
                  <a:pt x="940403" y="1396136"/>
                </a:lnTo>
                <a:cubicBezTo>
                  <a:pt x="959997" y="1430426"/>
                  <a:pt x="947751" y="1473288"/>
                  <a:pt x="914685" y="1492882"/>
                </a:cubicBezTo>
                <a:cubicBezTo>
                  <a:pt x="880396" y="1512477"/>
                  <a:pt x="837533" y="1500230"/>
                  <a:pt x="817938" y="1467165"/>
                </a:cubicBezTo>
                <a:close/>
              </a:path>
            </a:pathLst>
          </a:custGeom>
          <a:solidFill>
            <a:schemeClr val="accent1"/>
          </a:solidFill>
          <a:ln w="1224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6561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="" xmlns:a16="http://schemas.microsoft.com/office/drawing/2014/main" id="{E06B80F0-B3A4-4591-A31C-C7085422BFF0}"/>
              </a:ext>
            </a:extLst>
          </p:cNvPr>
          <p:cNvGrpSpPr/>
          <p:nvPr userDrawn="1"/>
        </p:nvGrpSpPr>
        <p:grpSpPr>
          <a:xfrm>
            <a:off x="-4475" y="711200"/>
            <a:ext cx="12196476" cy="6146800"/>
            <a:chOff x="-4475" y="711200"/>
            <a:chExt cx="12196476" cy="6146800"/>
          </a:xfrm>
        </p:grpSpPr>
        <p:sp>
          <p:nvSpPr>
            <p:cNvPr id="9" name="任意多边形: 形状 8">
              <a:extLst>
                <a:ext uri="{FF2B5EF4-FFF2-40B4-BE49-F238E27FC236}">
                  <a16:creationId xmlns="" xmlns:a16="http://schemas.microsoft.com/office/drawing/2014/main" id="{74282363-1050-4C04-8816-EB6634A0BB64}"/>
                </a:ext>
              </a:extLst>
            </p:cNvPr>
            <p:cNvSpPr/>
            <p:nvPr userDrawn="1"/>
          </p:nvSpPr>
          <p:spPr>
            <a:xfrm flipH="1">
              <a:off x="-4475" y="711200"/>
              <a:ext cx="5174550" cy="6146800"/>
            </a:xfrm>
            <a:custGeom>
              <a:avLst/>
              <a:gdLst>
                <a:gd name="connsiteX0" fmla="*/ 1730139 w 5174550"/>
                <a:gd name="connsiteY0" fmla="*/ 0 h 6146800"/>
                <a:gd name="connsiteX1" fmla="*/ 785190 w 5174550"/>
                <a:gd name="connsiteY1" fmla="*/ 0 h 6146800"/>
                <a:gd name="connsiteX2" fmla="*/ 510939 w 5174550"/>
                <a:gd name="connsiteY2" fmla="*/ 0 h 6146800"/>
                <a:gd name="connsiteX3" fmla="*/ 434009 w 5174550"/>
                <a:gd name="connsiteY3" fmla="*/ 0 h 6146800"/>
                <a:gd name="connsiteX4" fmla="*/ 0 w 5174550"/>
                <a:gd name="connsiteY4" fmla="*/ 774522 h 6146800"/>
                <a:gd name="connsiteX5" fmla="*/ 3010401 w 5174550"/>
                <a:gd name="connsiteY5" fmla="*/ 6146800 h 6146800"/>
                <a:gd name="connsiteX6" fmla="*/ 3955350 w 5174550"/>
                <a:gd name="connsiteY6" fmla="*/ 6146800 h 6146800"/>
                <a:gd name="connsiteX7" fmla="*/ 4229601 w 5174550"/>
                <a:gd name="connsiteY7" fmla="*/ 6146800 h 6146800"/>
                <a:gd name="connsiteX8" fmla="*/ 5174550 w 5174550"/>
                <a:gd name="connsiteY8" fmla="*/ 6146800 h 614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74550" h="6146800">
                  <a:moveTo>
                    <a:pt x="1730139" y="0"/>
                  </a:moveTo>
                  <a:lnTo>
                    <a:pt x="785190" y="0"/>
                  </a:lnTo>
                  <a:lnTo>
                    <a:pt x="510939" y="0"/>
                  </a:lnTo>
                  <a:lnTo>
                    <a:pt x="434009" y="0"/>
                  </a:lnTo>
                  <a:lnTo>
                    <a:pt x="0" y="774522"/>
                  </a:lnTo>
                  <a:lnTo>
                    <a:pt x="3010401" y="6146800"/>
                  </a:lnTo>
                  <a:lnTo>
                    <a:pt x="3955350" y="6146800"/>
                  </a:lnTo>
                  <a:lnTo>
                    <a:pt x="4229601" y="6146800"/>
                  </a:lnTo>
                  <a:lnTo>
                    <a:pt x="5174550" y="6146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 dirty="0"/>
            </a:p>
          </p:txBody>
        </p:sp>
        <p:sp>
          <p:nvSpPr>
            <p:cNvPr id="10" name="Rectangle 2_2">
              <a:extLst>
                <a:ext uri="{FF2B5EF4-FFF2-40B4-BE49-F238E27FC236}">
                  <a16:creationId xmlns="" xmlns:a16="http://schemas.microsoft.com/office/drawing/2014/main" id="{FCBF4AA6-C61D-4EA2-A4B7-F78556734AAE}"/>
                </a:ext>
              </a:extLst>
            </p:cNvPr>
            <p:cNvSpPr/>
            <p:nvPr userDrawn="1"/>
          </p:nvSpPr>
          <p:spPr>
            <a:xfrm>
              <a:off x="0" y="1462175"/>
              <a:ext cx="12192000" cy="3322769"/>
            </a:xfrm>
            <a:prstGeom prst="rect">
              <a:avLst/>
            </a:prstGeom>
            <a:blipFill>
              <a:blip r:embed="rId2"/>
              <a:stretch>
                <a:fillRect t="-225861" b="-224141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="" xmlns:a16="http://schemas.microsoft.com/office/drawing/2014/main" id="{9F002836-03E3-4C94-AEA6-2407AC42F847}"/>
                </a:ext>
              </a:extLst>
            </p:cNvPr>
            <p:cNvSpPr/>
            <p:nvPr userDrawn="1"/>
          </p:nvSpPr>
          <p:spPr>
            <a:xfrm>
              <a:off x="5155368" y="1462175"/>
              <a:ext cx="7036633" cy="3322769"/>
            </a:xfrm>
            <a:custGeom>
              <a:avLst/>
              <a:gdLst>
                <a:gd name="connsiteX0" fmla="*/ 0 w 7036633"/>
                <a:gd name="connsiteY0" fmla="*/ 0 h 3322769"/>
                <a:gd name="connsiteX1" fmla="*/ 1888662 w 7036633"/>
                <a:gd name="connsiteY1" fmla="*/ 0 h 3322769"/>
                <a:gd name="connsiteX2" fmla="*/ 5508033 w 7036633"/>
                <a:gd name="connsiteY2" fmla="*/ 0 h 3322769"/>
                <a:gd name="connsiteX3" fmla="*/ 7036633 w 7036633"/>
                <a:gd name="connsiteY3" fmla="*/ 0 h 3322769"/>
                <a:gd name="connsiteX4" fmla="*/ 7036633 w 7036633"/>
                <a:gd name="connsiteY4" fmla="*/ 3322769 h 3322769"/>
                <a:gd name="connsiteX5" fmla="*/ 5508033 w 7036633"/>
                <a:gd name="connsiteY5" fmla="*/ 3322769 h 3322769"/>
                <a:gd name="connsiteX6" fmla="*/ 1888662 w 7036633"/>
                <a:gd name="connsiteY6" fmla="*/ 3322769 h 3322769"/>
                <a:gd name="connsiteX7" fmla="*/ 1861942 w 7036633"/>
                <a:gd name="connsiteY7" fmla="*/ 3322769 h 3322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36633" h="3322769">
                  <a:moveTo>
                    <a:pt x="0" y="0"/>
                  </a:moveTo>
                  <a:lnTo>
                    <a:pt x="1888662" y="0"/>
                  </a:lnTo>
                  <a:lnTo>
                    <a:pt x="5508033" y="0"/>
                  </a:lnTo>
                  <a:lnTo>
                    <a:pt x="7036633" y="0"/>
                  </a:lnTo>
                  <a:lnTo>
                    <a:pt x="7036633" y="3322769"/>
                  </a:lnTo>
                  <a:lnTo>
                    <a:pt x="5508033" y="3322769"/>
                  </a:lnTo>
                  <a:lnTo>
                    <a:pt x="1888662" y="3322769"/>
                  </a:lnTo>
                  <a:lnTo>
                    <a:pt x="1861942" y="3322769"/>
                  </a:lnTo>
                  <a:close/>
                </a:path>
              </a:pathLst>
            </a:custGeom>
            <a:solidFill>
              <a:schemeClr val="tx1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="" xmlns:a16="http://schemas.microsoft.com/office/drawing/2014/main" id="{FF6CB9C7-C49E-4EC1-9C18-CB671ACE6AE1}"/>
                </a:ext>
              </a:extLst>
            </p:cNvPr>
            <p:cNvSpPr/>
            <p:nvPr userDrawn="1"/>
          </p:nvSpPr>
          <p:spPr>
            <a:xfrm>
              <a:off x="3515351" y="711200"/>
              <a:ext cx="3503186" cy="4075938"/>
            </a:xfrm>
            <a:custGeom>
              <a:avLst/>
              <a:gdLst>
                <a:gd name="connsiteX0" fmla="*/ 0 w 3503186"/>
                <a:gd name="connsiteY0" fmla="*/ 0 h 4075938"/>
                <a:gd name="connsiteX1" fmla="*/ 1219200 w 3503186"/>
                <a:gd name="connsiteY1" fmla="*/ 0 h 4075938"/>
                <a:gd name="connsiteX2" fmla="*/ 3503186 w 3503186"/>
                <a:gd name="connsiteY2" fmla="*/ 4075938 h 4075938"/>
                <a:gd name="connsiteX3" fmla="*/ 2283986 w 3503186"/>
                <a:gd name="connsiteY3" fmla="*/ 4075938 h 4075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3186" h="4075938">
                  <a:moveTo>
                    <a:pt x="0" y="0"/>
                  </a:moveTo>
                  <a:lnTo>
                    <a:pt x="1219200" y="0"/>
                  </a:lnTo>
                  <a:lnTo>
                    <a:pt x="3503186" y="4075938"/>
                  </a:lnTo>
                  <a:lnTo>
                    <a:pt x="2283986" y="407593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 dirty="0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464300" y="1582058"/>
            <a:ext cx="5056981" cy="2364686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629523" y="4386848"/>
            <a:ext cx="389175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7629525" y="4090577"/>
            <a:ext cx="389175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4257315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09737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en-US" altLang="zh-CN" smtClean="0"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817124909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2_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/>
          </p:nvPr>
        </p:nvSpPr>
        <p:spPr>
          <a:xfrm>
            <a:off x="609600" y="274638"/>
            <a:ext cx="10972800" cy="531495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grpSp>
        <p:nvGrpSpPr>
          <p:cNvPr id="7" name="组合 2"/>
          <p:cNvGrpSpPr/>
          <p:nvPr userDrawn="1"/>
        </p:nvGrpSpPr>
        <p:grpSpPr>
          <a:xfrm>
            <a:off x="0" y="679743"/>
            <a:ext cx="12192000" cy="60959"/>
            <a:chOff x="285720" y="998520"/>
            <a:chExt cx="8429684" cy="73026"/>
          </a:xfrm>
        </p:grpSpPr>
        <p:cxnSp>
          <p:nvCxnSpPr>
            <p:cNvPr id="8" name="直接连接符 7"/>
            <p:cNvCxnSpPr/>
            <p:nvPr/>
          </p:nvCxnSpPr>
          <p:spPr>
            <a:xfrm>
              <a:off x="285720" y="998520"/>
              <a:ext cx="8429684" cy="1588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" name="直接连接符 8"/>
            <p:cNvCxnSpPr/>
            <p:nvPr/>
          </p:nvCxnSpPr>
          <p:spPr>
            <a:xfrm>
              <a:off x="285720" y="1069958"/>
              <a:ext cx="8429684" cy="1588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0" name="矩形 9">
            <a:extLst>
              <a:ext uri="{FF2B5EF4-FFF2-40B4-BE49-F238E27FC236}">
                <a16:creationId xmlns="" xmlns:a16="http://schemas.microsoft.com/office/drawing/2014/main" id="{626F3D86-D6A5-4DD0-99B5-B4BE9AE16878}"/>
              </a:ext>
            </a:extLst>
          </p:cNvPr>
          <p:cNvSpPr/>
          <p:nvPr userDrawn="1"/>
        </p:nvSpPr>
        <p:spPr>
          <a:xfrm>
            <a:off x="11884121" y="6060525"/>
            <a:ext cx="307879" cy="1107990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indent="0" algn="l" defTabSz="325111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6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3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  <a:prstGeom prst="rect">
            <a:avLst/>
          </a:prstGeom>
        </p:spPr>
        <p:txBody>
          <a:bodyPr/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362139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=""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=""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800" y="451016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=""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1" y="4092559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=""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1" y="2617296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1934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=""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=""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48DE95B4-AE0C-7EEC-4C08-E3F3FC75B621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4" name="Picture 7" descr="C:\Users\Administrator\Desktop\嘎\新建文件夹\百年资产PPT嘎111-04.jpg">
              <a:extLst>
                <a:ext uri="{FF2B5EF4-FFF2-40B4-BE49-F238E27FC236}">
                  <a16:creationId xmlns="" xmlns:a16="http://schemas.microsoft.com/office/drawing/2014/main" id="{A5A449F4-9A94-8C4C-4BB5-56A0788520E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="" xmlns:a16="http://schemas.microsoft.com/office/drawing/2014/main" id="{C61C9440-2E33-5BEB-02DF-A72A9F978542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5" name="Rectangle 1" hidden="1">
            <a:extLst>
              <a:ext uri="{FF2B5EF4-FFF2-40B4-BE49-F238E27FC236}">
                <a16:creationId xmlns=""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=""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=""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FFFFFF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1642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=""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E9319D93-67E5-3125-DE64-EF38FC49176D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5" name="Picture 7" descr="C:\Users\Administrator\Desktop\嘎\新建文件夹\百年资产PPT嘎111-04.jpg">
              <a:extLst>
                <a:ext uri="{FF2B5EF4-FFF2-40B4-BE49-F238E27FC236}">
                  <a16:creationId xmlns="" xmlns:a16="http://schemas.microsoft.com/office/drawing/2014/main" id="{49DCFADA-E657-B5E1-FD02-3EAE71B0B1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="" xmlns:a16="http://schemas.microsoft.com/office/drawing/2014/main" id="{6FB2DC48-2E93-B5D0-AE24-7D15D595E22D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=""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=""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=""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=""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70132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CFE344FE-1712-3FFF-06CE-C147066E9773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6" name="Picture 7" descr="C:\Users\Administrator\Desktop\嘎\新建文件夹\百年资产PPT嘎111-04.jpg">
              <a:extLst>
                <a:ext uri="{FF2B5EF4-FFF2-40B4-BE49-F238E27FC236}">
                  <a16:creationId xmlns="" xmlns:a16="http://schemas.microsoft.com/office/drawing/2014/main" id="{84CD5428-F77F-F979-825C-E800A8F606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="" xmlns:a16="http://schemas.microsoft.com/office/drawing/2014/main" id="{A2104ED9-280F-79FF-2AD0-B60FA9277C17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=""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=""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=""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=""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54841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70D9E999-82D5-ED7E-3EBD-A8B9A6F5C161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5" name="Picture 7" descr="C:\Users\Administrator\Desktop\嘎\新建文件夹\百年资产PPT嘎111-04.jpg">
              <a:extLst>
                <a:ext uri="{FF2B5EF4-FFF2-40B4-BE49-F238E27FC236}">
                  <a16:creationId xmlns="" xmlns:a16="http://schemas.microsoft.com/office/drawing/2014/main" id="{AEC97D98-7F65-AB3D-9AF6-276DAA7102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="" xmlns:a16="http://schemas.microsoft.com/office/drawing/2014/main" id="{7D0D1C03-9540-24DB-8636-D0DF1E638050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=""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=""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=""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=""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5146599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9.xml"/><Relationship Id="rId34" Type="http://schemas.openxmlformats.org/officeDocument/2006/relationships/image" Target="../media/image2.emf"/><Relationship Id="rId7" Type="http://schemas.openxmlformats.org/officeDocument/2006/relationships/slideLayout" Target="../slideLayouts/slideLayout11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tags" Target="../tags/tag17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theme" Target="../theme/theme2.xml"/><Relationship Id="rId24" Type="http://schemas.openxmlformats.org/officeDocument/2006/relationships/tags" Target="../tags/tag12.xml"/><Relationship Id="rId32" Type="http://schemas.openxmlformats.org/officeDocument/2006/relationships/tags" Target="../tags/tag20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4.xml"/><Relationship Id="rId19" Type="http://schemas.openxmlformats.org/officeDocument/2006/relationships/tags" Target="../tags/tag7.xml"/><Relationship Id="rId31" Type="http://schemas.openxmlformats.org/officeDocument/2006/relationships/tags" Target="../tags/tag19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tags" Target="../tags/tag18.xml"/><Relationship Id="rId8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6" descr="图片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32438" y="6245667"/>
            <a:ext cx="1824205" cy="4192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5" name="组合 2"/>
          <p:cNvGrpSpPr/>
          <p:nvPr/>
        </p:nvGrpSpPr>
        <p:grpSpPr>
          <a:xfrm>
            <a:off x="-3" y="679743"/>
            <a:ext cx="12192004" cy="60960"/>
            <a:chOff x="-1" y="0"/>
            <a:chExt cx="9144002" cy="45719"/>
          </a:xfrm>
        </p:grpSpPr>
        <p:sp>
          <p:nvSpPr>
            <p:cNvPr id="3" name="直接连接符 14"/>
            <p:cNvSpPr/>
            <p:nvPr/>
          </p:nvSpPr>
          <p:spPr>
            <a:xfrm>
              <a:off x="-2" y="0"/>
              <a:ext cx="9144003" cy="995"/>
            </a:xfrm>
            <a:prstGeom prst="line">
              <a:avLst/>
            </a:prstGeom>
            <a:noFill/>
            <a:ln w="19050" cap="flat">
              <a:solidFill>
                <a:srgbClr val="C00000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45718" tIns="45718" rIns="45718" bIns="45718" numCol="1" anchor="t">
              <a:noAutofit/>
            </a:bodyPr>
            <a:lstStyle/>
            <a:p>
              <a:endParaRPr sz="2400"/>
            </a:p>
          </p:txBody>
        </p:sp>
        <p:sp>
          <p:nvSpPr>
            <p:cNvPr id="4" name="直接连接符 15"/>
            <p:cNvSpPr/>
            <p:nvPr/>
          </p:nvSpPr>
          <p:spPr>
            <a:xfrm>
              <a:off x="-2" y="44725"/>
              <a:ext cx="9144003" cy="995"/>
            </a:xfrm>
            <a:prstGeom prst="line">
              <a:avLst/>
            </a:prstGeom>
            <a:noFill/>
            <a:ln w="19050" cap="flat">
              <a:solidFill>
                <a:srgbClr val="C00000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45718" tIns="45718" rIns="45718" bIns="45718" numCol="1" anchor="t">
              <a:noAutofit/>
            </a:bodyPr>
            <a:lstStyle/>
            <a:p>
              <a:endParaRPr sz="2400"/>
            </a:p>
          </p:txBody>
        </p:sp>
      </p:grpSp>
      <p:sp>
        <p:nvSpPr>
          <p:cNvPr id="6" name="正文级别 1…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7" name="标题文本"/>
          <p:cNvSpPr txBox="1">
            <a:spLocks noGrp="1"/>
          </p:cNvSpPr>
          <p:nvPr>
            <p:ph type="title"/>
          </p:nvPr>
        </p:nvSpPr>
        <p:spPr>
          <a:xfrm>
            <a:off x="1826684" y="1371600"/>
            <a:ext cx="9753601" cy="4651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t>标题文本</a:t>
            </a:r>
          </a:p>
        </p:txBody>
      </p:sp>
      <p:sp>
        <p:nvSpPr>
          <p:cNvPr id="8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5570102" y="6309319"/>
            <a:ext cx="440213" cy="417855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>
            <a:spAutoFit/>
          </a:bodyPr>
          <a:lstStyle>
            <a:lvl1pPr algn="ctr">
              <a:defRPr sz="2133"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t>‹#›</a:t>
            </a:fld>
            <a:endParaRPr/>
          </a:p>
        </p:txBody>
      </p:sp>
      <p:sp>
        <p:nvSpPr>
          <p:cNvPr id="9" name="矩形 8">
            <a:extLst>
              <a:ext uri="{FF2B5EF4-FFF2-40B4-BE49-F238E27FC236}">
                <a16:creationId xmlns="" xmlns:a16="http://schemas.microsoft.com/office/drawing/2014/main" id="{0C8A2F2A-3C72-7804-2092-3D4551300A51}"/>
              </a:ext>
            </a:extLst>
          </p:cNvPr>
          <p:cNvSpPr/>
          <p:nvPr userDrawn="1"/>
        </p:nvSpPr>
        <p:spPr>
          <a:xfrm>
            <a:off x="11884121" y="6060525"/>
            <a:ext cx="307879" cy="1107990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indent="0" algn="l" defTabSz="325111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6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10" name="灯片编号占位符 5">
            <a:extLst>
              <a:ext uri="{FF2B5EF4-FFF2-40B4-BE49-F238E27FC236}">
                <a16:creationId xmlns="" xmlns:a16="http://schemas.microsoft.com/office/drawing/2014/main" id="{C0BE011F-3B26-B913-81F3-DADAC585866A}"/>
              </a:ext>
            </a:extLst>
          </p:cNvPr>
          <p:cNvSpPr txBox="1">
            <a:spLocks/>
          </p:cNvSpPr>
          <p:nvPr userDrawn="1"/>
        </p:nvSpPr>
        <p:spPr>
          <a:xfrm>
            <a:off x="11844715" y="6371039"/>
            <a:ext cx="373175" cy="369327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1pPr>
            <a:lvl2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0C913308-F349-4B6D-A68A-DD1791B4A57B}" type="slidenum">
              <a:rPr lang="zh-CN" altLang="en-US" sz="1600" smtClean="0"/>
              <a:pPr/>
              <a:t>‹#›</a:t>
            </a:fld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202023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4" r:id="rId2"/>
    <p:sldLayoutId id="2147483665" r:id="rId3"/>
    <p:sldLayoutId id="2147483688" r:id="rId4"/>
  </p:sldLayoutIdLst>
  <p:transition spd="med"/>
  <p:hf hdr="0" ftr="0" dt="0"/>
  <p:txStyles>
    <p:titleStyle>
      <a:lvl1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457189" marR="0" indent="-457189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045002" marR="0" indent="-435417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–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625559" marR="0" indent="-406390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2316422" marR="0" indent="-487668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–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926007" marR="0" indent="-487668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»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3535592" marR="0" indent="-487668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4145176" marR="0" indent="-487668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4754760" marR="0" indent="-487666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5364345" marR="0" indent="-487666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=""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33" imgW="413" imgH="416" progId="TCLayout.ActiveDocument.1">
                  <p:embed/>
                </p:oleObj>
              </mc:Choice>
              <mc:Fallback>
                <p:oleObj name="think-cell Slide" r:id="rId3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=""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=""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=""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>
          <a:xfrm>
            <a:off x="554736" y="172212"/>
            <a:ext cx="9121699" cy="54541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=""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=""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=""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=""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=""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=""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=""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=""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=""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=""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=""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=""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=""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=""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=""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=""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=""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=""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=""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=""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=""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=""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=""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=""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=""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=""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=""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=""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=""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=""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=""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=""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=""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=""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=""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=""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=""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=""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=""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=""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=""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=""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=""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=""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=""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=""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=""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=""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=""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=""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=""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=""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=""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=""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=""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=""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=""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=""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=""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=""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=""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=""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=""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=""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=""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=""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=""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=""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=""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=""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=""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=""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=""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=""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=""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=""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=""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=""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 err="1">
                <a:solidFill>
                  <a:srgbClr val="000000"/>
                </a:solidFill>
              </a:rPr>
              <a:t>AboveChartExhibitTitle</a:t>
            </a:r>
            <a:endParaRPr lang="en-US" dirty="0">
              <a:solidFill>
                <a:srgbClr val="000000"/>
              </a:solidFill>
            </a:endParaRPr>
          </a:p>
          <a:p>
            <a:r>
              <a:rPr lang="en-US" b="0" dirty="0" err="1">
                <a:solidFill>
                  <a:srgbClr val="000000"/>
                </a:solidFill>
              </a:rPr>
              <a:t>UnitofMeasure</a:t>
            </a: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LegendLines" hidden="1">
            <a:extLst>
              <a:ext uri="{FF2B5EF4-FFF2-40B4-BE49-F238E27FC236}">
                <a16:creationId xmlns="" xmlns:a16="http://schemas.microsoft.com/office/drawing/2014/main" id="{13057103-D115-DADA-2EB0-0FCD59AB2391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8" name="Legend1" hidden="1">
              <a:extLst>
                <a:ext uri="{FF2B5EF4-FFF2-40B4-BE49-F238E27FC236}">
                  <a16:creationId xmlns="" xmlns:a16="http://schemas.microsoft.com/office/drawing/2014/main" id="{E40D27A3-1978-B2BA-3C27-66E19A7F7894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9" name="Legend2" hidden="1">
              <a:extLst>
                <a:ext uri="{FF2B5EF4-FFF2-40B4-BE49-F238E27FC236}">
                  <a16:creationId xmlns="" xmlns:a16="http://schemas.microsoft.com/office/drawing/2014/main" id="{FD94417F-B0A4-94B9-111E-0C392E9AACA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" name="Legend3" hidden="1">
              <a:extLst>
                <a:ext uri="{FF2B5EF4-FFF2-40B4-BE49-F238E27FC236}">
                  <a16:creationId xmlns="" xmlns:a16="http://schemas.microsoft.com/office/drawing/2014/main" id="{39A3A972-E563-B79B-BADB-8F3B17730D90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1" name="LineLegend3" hidden="1">
              <a:extLst>
                <a:ext uri="{FF2B5EF4-FFF2-40B4-BE49-F238E27FC236}">
                  <a16:creationId xmlns="" xmlns:a16="http://schemas.microsoft.com/office/drawing/2014/main" id="{6F3943BA-41BD-9DDA-0BFB-43336609183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2" name="LineLegend2" hidden="1">
              <a:extLst>
                <a:ext uri="{FF2B5EF4-FFF2-40B4-BE49-F238E27FC236}">
                  <a16:creationId xmlns="" xmlns:a16="http://schemas.microsoft.com/office/drawing/2014/main" id="{AE8AB6FF-872C-5D81-8C7B-176A9AAE8E2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3" name="LineLegend1" hidden="1">
              <a:extLst>
                <a:ext uri="{FF2B5EF4-FFF2-40B4-BE49-F238E27FC236}">
                  <a16:creationId xmlns="" xmlns:a16="http://schemas.microsoft.com/office/drawing/2014/main" id="{AC4D128D-6CEA-3945-3844-F5AAE1B1687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" name="LegendMoons" hidden="1">
            <a:extLst>
              <a:ext uri="{FF2B5EF4-FFF2-40B4-BE49-F238E27FC236}">
                <a16:creationId xmlns="" xmlns:a16="http://schemas.microsoft.com/office/drawing/2014/main" id="{3371E374-0BA4-5B34-0757-CFCCD235A60F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5" name="Legend1" hidden="1">
              <a:extLst>
                <a:ext uri="{FF2B5EF4-FFF2-40B4-BE49-F238E27FC236}">
                  <a16:creationId xmlns="" xmlns:a16="http://schemas.microsoft.com/office/drawing/2014/main" id="{756BFF61-0575-9FA8-E44E-360FD7B1F6CF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Legend2" hidden="1">
              <a:extLst>
                <a:ext uri="{FF2B5EF4-FFF2-40B4-BE49-F238E27FC236}">
                  <a16:creationId xmlns="" xmlns:a16="http://schemas.microsoft.com/office/drawing/2014/main" id="{DEFD1EC6-663F-2BA2-0DF6-3756FCE6888D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Legend3" hidden="1">
              <a:extLst>
                <a:ext uri="{FF2B5EF4-FFF2-40B4-BE49-F238E27FC236}">
                  <a16:creationId xmlns="" xmlns:a16="http://schemas.microsoft.com/office/drawing/2014/main" id="{001274AD-256D-2E4A-613A-50A341751E74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4" hidden="1">
              <a:extLst>
                <a:ext uri="{FF2B5EF4-FFF2-40B4-BE49-F238E27FC236}">
                  <a16:creationId xmlns="" xmlns:a16="http://schemas.microsoft.com/office/drawing/2014/main" id="{6D9DC179-B308-2F79-8255-CB9BD67BE615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Legend5" hidden="1">
              <a:extLst>
                <a:ext uri="{FF2B5EF4-FFF2-40B4-BE49-F238E27FC236}">
                  <a16:creationId xmlns="" xmlns:a16="http://schemas.microsoft.com/office/drawing/2014/main" id="{5C9EBC3F-1C5A-EBC4-7D40-320412B4A9E4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grpSp>
          <p:nvGrpSpPr>
            <p:cNvPr id="21" name="MoonLegend1" hidden="1">
              <a:extLst>
                <a:ext uri="{FF2B5EF4-FFF2-40B4-BE49-F238E27FC236}">
                  <a16:creationId xmlns="" xmlns:a16="http://schemas.microsoft.com/office/drawing/2014/main" id="{049C7414-BE95-0191-B349-1615B80842B3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34" name="Oval 33" hidden="1">
                <a:extLst>
                  <a:ext uri="{FF2B5EF4-FFF2-40B4-BE49-F238E27FC236}">
                    <a16:creationId xmlns="" xmlns:a16="http://schemas.microsoft.com/office/drawing/2014/main" id="{BEB9D1A0-FA07-9C2B-3185-AEA748F773F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Arc 34" hidden="1">
                <a:extLst>
                  <a:ext uri="{FF2B5EF4-FFF2-40B4-BE49-F238E27FC236}">
                    <a16:creationId xmlns="" xmlns:a16="http://schemas.microsoft.com/office/drawing/2014/main" id="{95AC73D0-BB80-C586-8704-4CFB89103A6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MoonLegend2" hidden="1">
              <a:extLst>
                <a:ext uri="{FF2B5EF4-FFF2-40B4-BE49-F238E27FC236}">
                  <a16:creationId xmlns="" xmlns:a16="http://schemas.microsoft.com/office/drawing/2014/main" id="{727AAED1-383E-4C4A-DF0C-0BF7A02D8948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32" name="Oval 31" hidden="1">
                <a:extLst>
                  <a:ext uri="{FF2B5EF4-FFF2-40B4-BE49-F238E27FC236}">
                    <a16:creationId xmlns="" xmlns:a16="http://schemas.microsoft.com/office/drawing/2014/main" id="{D018C4B7-86A0-3B18-C221-FFEC7E84E54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Arc 32" hidden="1">
                <a:extLst>
                  <a:ext uri="{FF2B5EF4-FFF2-40B4-BE49-F238E27FC236}">
                    <a16:creationId xmlns="" xmlns:a16="http://schemas.microsoft.com/office/drawing/2014/main" id="{FD435453-8EFE-2A6C-3650-15040DB209D1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3" name="MoonLegend3" hidden="1">
              <a:extLst>
                <a:ext uri="{FF2B5EF4-FFF2-40B4-BE49-F238E27FC236}">
                  <a16:creationId xmlns="" xmlns:a16="http://schemas.microsoft.com/office/drawing/2014/main" id="{1CC33BAC-DE32-D2A0-4AD9-F923A9CB60A5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30" name="Oval 29" hidden="1">
                <a:extLst>
                  <a:ext uri="{FF2B5EF4-FFF2-40B4-BE49-F238E27FC236}">
                    <a16:creationId xmlns="" xmlns:a16="http://schemas.microsoft.com/office/drawing/2014/main" id="{6E33E2B0-FC0B-B53A-8A62-4CC1A84A9B70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Arc 30" hidden="1">
                <a:extLst>
                  <a:ext uri="{FF2B5EF4-FFF2-40B4-BE49-F238E27FC236}">
                    <a16:creationId xmlns="" xmlns:a16="http://schemas.microsoft.com/office/drawing/2014/main" id="{A545051D-4B10-B9D8-6C55-A2364F0F90CF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4" name="MoonLegend4" hidden="1">
              <a:extLst>
                <a:ext uri="{FF2B5EF4-FFF2-40B4-BE49-F238E27FC236}">
                  <a16:creationId xmlns="" xmlns:a16="http://schemas.microsoft.com/office/drawing/2014/main" id="{379404D8-D7C1-5751-C53C-AD85305E529D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8" name="Oval 27" hidden="1">
                <a:extLst>
                  <a:ext uri="{FF2B5EF4-FFF2-40B4-BE49-F238E27FC236}">
                    <a16:creationId xmlns="" xmlns:a16="http://schemas.microsoft.com/office/drawing/2014/main" id="{FBA4E0A2-7BE8-8927-DEBA-9ED5E9CDD7CB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Arc 28" hidden="1">
                <a:extLst>
                  <a:ext uri="{FF2B5EF4-FFF2-40B4-BE49-F238E27FC236}">
                    <a16:creationId xmlns="" xmlns:a16="http://schemas.microsoft.com/office/drawing/2014/main" id="{E1DC12A8-1993-A2C7-9737-76BD7881BAE2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5" name="MoonLegend5" hidden="1">
              <a:extLst>
                <a:ext uri="{FF2B5EF4-FFF2-40B4-BE49-F238E27FC236}">
                  <a16:creationId xmlns="" xmlns:a16="http://schemas.microsoft.com/office/drawing/2014/main" id="{0F48F81E-C38C-8B4D-B09D-BBEB9CD13CDE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6" name="Oval 25" hidden="1">
                <a:extLst>
                  <a:ext uri="{FF2B5EF4-FFF2-40B4-BE49-F238E27FC236}">
                    <a16:creationId xmlns="" xmlns:a16="http://schemas.microsoft.com/office/drawing/2014/main" id="{1E84E310-6B41-86BA-63F9-CC514DF7C1F2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Arc 26" hidden="1">
                <a:extLst>
                  <a:ext uri="{FF2B5EF4-FFF2-40B4-BE49-F238E27FC236}">
                    <a16:creationId xmlns="" xmlns:a16="http://schemas.microsoft.com/office/drawing/2014/main" id="{1DB782AB-D0B5-CA20-6A2A-1A5B028C33AD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36" name="LegendBoxes" hidden="1">
            <a:extLst>
              <a:ext uri="{FF2B5EF4-FFF2-40B4-BE49-F238E27FC236}">
                <a16:creationId xmlns="" xmlns:a16="http://schemas.microsoft.com/office/drawing/2014/main" id="{118ED783-9E8B-2463-AF07-BF6B2F41FC33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37" name="RectangleLegend1" hidden="1">
              <a:extLst>
                <a:ext uri="{FF2B5EF4-FFF2-40B4-BE49-F238E27FC236}">
                  <a16:creationId xmlns="" xmlns:a16="http://schemas.microsoft.com/office/drawing/2014/main" id="{F441E6F5-13B9-B8AC-F77E-5982D9E6A57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38" name="RectangleLegend2" hidden="1">
              <a:extLst>
                <a:ext uri="{FF2B5EF4-FFF2-40B4-BE49-F238E27FC236}">
                  <a16:creationId xmlns="" xmlns:a16="http://schemas.microsoft.com/office/drawing/2014/main" id="{2095D635-9511-7425-8AC0-1A4D07998787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39" name="RectangleLegend3" hidden="1">
              <a:extLst>
                <a:ext uri="{FF2B5EF4-FFF2-40B4-BE49-F238E27FC236}">
                  <a16:creationId xmlns="" xmlns:a16="http://schemas.microsoft.com/office/drawing/2014/main" id="{9C55D2FB-82E2-00AC-9AFD-36EAB173B21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40" name="RectangleLegend4" hidden="1">
              <a:extLst>
                <a:ext uri="{FF2B5EF4-FFF2-40B4-BE49-F238E27FC236}">
                  <a16:creationId xmlns="" xmlns:a16="http://schemas.microsoft.com/office/drawing/2014/main" id="{4D167DFF-781B-D46B-BC77-AF67CC9A5C27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41" name="RectangleLegend5" hidden="1">
              <a:extLst>
                <a:ext uri="{FF2B5EF4-FFF2-40B4-BE49-F238E27FC236}">
                  <a16:creationId xmlns="" xmlns:a16="http://schemas.microsoft.com/office/drawing/2014/main" id="{F3C9CA53-6BB2-147F-F865-C7E3AB5D93F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42" name="Legend1" hidden="1">
              <a:extLst>
                <a:ext uri="{FF2B5EF4-FFF2-40B4-BE49-F238E27FC236}">
                  <a16:creationId xmlns="" xmlns:a16="http://schemas.microsoft.com/office/drawing/2014/main" id="{DE188F18-893F-B452-903B-9BF577919B33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3" name="Legend2" hidden="1">
              <a:extLst>
                <a:ext uri="{FF2B5EF4-FFF2-40B4-BE49-F238E27FC236}">
                  <a16:creationId xmlns="" xmlns:a16="http://schemas.microsoft.com/office/drawing/2014/main" id="{7C18555F-998D-AE1F-95D2-115C438ECB01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4" name="Legend3" hidden="1">
              <a:extLst>
                <a:ext uri="{FF2B5EF4-FFF2-40B4-BE49-F238E27FC236}">
                  <a16:creationId xmlns="" xmlns:a16="http://schemas.microsoft.com/office/drawing/2014/main" id="{7D7F2664-3266-C5DE-E6FD-CCCD0AA53D8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5" name="Legend4" hidden="1">
              <a:extLst>
                <a:ext uri="{FF2B5EF4-FFF2-40B4-BE49-F238E27FC236}">
                  <a16:creationId xmlns="" xmlns:a16="http://schemas.microsoft.com/office/drawing/2014/main" id="{7D5D248B-157A-9419-8F59-43424C03BB46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6" name="Legend5" hidden="1">
              <a:extLst>
                <a:ext uri="{FF2B5EF4-FFF2-40B4-BE49-F238E27FC236}">
                  <a16:creationId xmlns="" xmlns:a16="http://schemas.microsoft.com/office/drawing/2014/main" id="{82DAF5B6-8D72-E061-572D-7ECA5007BB45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8869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2" orient="horz" pos="3912">
          <p15:clr>
            <a:srgbClr val="5ACBF0"/>
          </p15:clr>
        </p15:guide>
        <p15:guide id="3" orient="horz" pos="1075">
          <p15:clr>
            <a:srgbClr val="F26B43"/>
          </p15:clr>
        </p15:guide>
        <p15:guide id="4" pos="7329">
          <p15:clr>
            <a:srgbClr val="F26B43"/>
          </p15:clr>
        </p15:guide>
        <p15:guide id="5" pos="345">
          <p15:clr>
            <a:srgbClr val="F26B43"/>
          </p15:clr>
        </p15:guide>
        <p15:guide id="6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图片 2" descr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46" name="图片 9" descr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106" y="5924362"/>
            <a:ext cx="3218599" cy="741543"/>
          </a:xfrm>
          <a:prstGeom prst="rect">
            <a:avLst/>
          </a:prstGeom>
          <a:ln w="12700">
            <a:miter lim="400000"/>
          </a:ln>
        </p:spPr>
      </p:pic>
      <p:sp>
        <p:nvSpPr>
          <p:cNvPr id="48" name="文本框 4"/>
          <p:cNvSpPr txBox="1"/>
          <p:nvPr/>
        </p:nvSpPr>
        <p:spPr>
          <a:xfrm>
            <a:off x="5265009" y="3059102"/>
            <a:ext cx="1661987" cy="12311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60957" tIns="60957" rIns="60957" bIns="60957">
            <a:spAutoFit/>
          </a:bodyPr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  <a:sym typeface="+mn-lt"/>
              </a:rPr>
              <a:t>资产配置部</a:t>
            </a:r>
            <a:endParaRPr kumimoji="0" lang="en-US" altLang="zh-CN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lang="en-US" altLang="zh-CN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  <a:sym typeface="+mn-lt"/>
              </a:rPr>
              <a:t>2025.12.8</a:t>
            </a:r>
            <a:endParaRPr kumimoji="0" lang="en-US" altLang="zh-CN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9" name="文本框 8"/>
          <p:cNvSpPr txBox="1"/>
          <p:nvPr/>
        </p:nvSpPr>
        <p:spPr>
          <a:xfrm>
            <a:off x="7502302" y="5925278"/>
            <a:ext cx="4534569" cy="6566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60957" tIns="60957" rIns="60957" bIns="60957">
            <a:spAutoFit/>
          </a:bodyPr>
          <a:lstStyle/>
          <a:p>
            <a:pPr marL="0" marR="0" lvl="0" indent="0" algn="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u="sng">
                <a:solidFill>
                  <a:srgbClr val="262626"/>
                </a:solidFill>
                <a:latin typeface="华文中宋"/>
                <a:ea typeface="华文中宋"/>
                <a:cs typeface="华文中宋"/>
                <a:sym typeface="华文中宋"/>
              </a:defRPr>
            </a:pPr>
            <a:r>
              <a:rPr kumimoji="0" sz="1067" b="0" i="0" u="sng" strike="noStrike" kern="0" cap="none" spc="0" normalizeH="0" baseline="0" noProof="0" dirty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宋体"/>
                <a:cs typeface="+mn-ea"/>
                <a:sym typeface="+mn-lt"/>
              </a:rPr>
              <a:t>阅读本文档即被视认为同意遵守以下条款</a:t>
            </a:r>
            <a:endParaRPr kumimoji="0" sz="1067" b="0" i="0" u="sng" strike="noStrike" kern="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宋体"/>
              <a:cs typeface="+mn-ea"/>
              <a:sym typeface="+mn-lt"/>
            </a:endParaRPr>
          </a:p>
          <a:p>
            <a:pPr marL="0" marR="0" lvl="0" indent="0" algn="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rgbClr val="808080"/>
                </a:solidFill>
                <a:latin typeface="华文中宋"/>
                <a:ea typeface="华文中宋"/>
                <a:cs typeface="华文中宋"/>
                <a:sym typeface="华文中宋"/>
              </a:defRPr>
            </a:pP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宋体"/>
                <a:cs typeface="+mn-ea"/>
                <a:sym typeface="+mn-lt"/>
              </a:rPr>
              <a:t>百年保险资管对提交的所有文档享有全部著作权和邻接权，对未经本公司书面许可擅自改编、复制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宋体"/>
              <a:cs typeface="+mn-ea"/>
              <a:sym typeface="+mn-lt"/>
            </a:endParaRPr>
          </a:p>
          <a:p>
            <a:pPr marL="0" marR="0" lvl="0" indent="0" algn="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rgbClr val="808080"/>
                </a:solidFill>
                <a:latin typeface="华文中宋"/>
                <a:ea typeface="华文中宋"/>
                <a:cs typeface="华文中宋"/>
                <a:sym typeface="华文中宋"/>
              </a:defRPr>
            </a:pP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宋体"/>
                <a:cs typeface="+mn-ea"/>
                <a:sym typeface="+mn-lt"/>
              </a:rPr>
              <a:t>模仿、剽窃、抄袭或为牟利而以其他方式使用上述作品内容的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宋体"/>
              <a:cs typeface="+mn-ea"/>
              <a:sym typeface="+mn-lt"/>
            </a:endParaRPr>
          </a:p>
          <a:p>
            <a:pPr marL="0" marR="0" lvl="0" indent="0" algn="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rgbClr val="808080"/>
                </a:solidFill>
                <a:latin typeface="华文中宋"/>
                <a:ea typeface="华文中宋"/>
                <a:cs typeface="华文中宋"/>
                <a:sym typeface="华文中宋"/>
              </a:defRPr>
            </a:pP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宋体"/>
                <a:cs typeface="+mn-ea"/>
                <a:sym typeface="+mn-lt"/>
              </a:rPr>
              <a:t>本公司讲严格追究侵权者的法律责任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宋体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9106" y="1851685"/>
            <a:ext cx="11544300" cy="77975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2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  <a:sym typeface="+mn-lt"/>
              </a:rPr>
              <a:t>宏观因子择时模型与情绪指标择时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="" xmlns:a16="http://schemas.microsoft.com/office/drawing/2014/main" id="{51FF4F01-2D3D-4BD3-91BA-81FB1D5E927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5947676" y="8568419"/>
            <a:ext cx="206143" cy="338550"/>
          </a:xfrm>
        </p:spPr>
        <p:txBody>
          <a:bodyPr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US" altLang="zh-CN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ctr" defTabSz="325111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zh-CN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7107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BA676385-3BCA-B757-F4E0-2D2455F1A1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="" xmlns:a16="http://schemas.microsoft.com/office/drawing/2014/main" id="{40F2CA73-1ACF-757A-55E3-F61C02469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="" xmlns:a16="http://schemas.microsoft.com/office/drawing/2014/main" id="{4943BB4E-78C4-9B49-8AE0-43F21A3821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跌停数量占比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26179439-BCD8-7D02-463C-4C726D04F82B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跌停数量占比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0.00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当前信号为中性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407328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9FF62C43-D645-B15D-48E7-8435E0845C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="" xmlns:a16="http://schemas.microsoft.com/office/drawing/2014/main" id="{A5B4A9FD-90E2-C822-DB5D-DC4D2116F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="" xmlns:a16="http://schemas.microsoft.com/office/drawing/2014/main" id="{695355BC-5110-3FDD-8503-91652B26FD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两融成交额占比分位数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28FB86F2-A7D7-1C1A-1FBC-589C2C95E4B5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两融成交额占比分位数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87.9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最新信号为中性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138481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FA979A6E-BC3B-7B6A-92F9-1EEC9F8D72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="" xmlns:a16="http://schemas.microsoft.com/office/drawing/2014/main" id="{ED81159F-DA23-4CDB-7791-A05CF7BAB0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="" xmlns:a16="http://schemas.microsoft.com/office/drawing/2014/main" id="{F910461C-0711-E172-5880-37CDA78B79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融资净买入分位数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673CB886-8021-B1A3-19CD-3718F77C16F7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融资净买入分位数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lang="en-US" altLang="zh-CN" sz="1450" kern="0" dirty="0" smtClean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27.1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当前信号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中性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1385887"/>
            <a:ext cx="10363200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86947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23FEECDC-F511-A52D-14B8-9EA593F9F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="" xmlns:a16="http://schemas.microsoft.com/office/drawing/2014/main" id="{78B8CE3E-369D-3849-34D8-BEAA3F449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="" xmlns:a16="http://schemas.microsoft.com/office/drawing/2014/main" id="{7CA46D70-8AAF-BE3A-E5A9-433A3412B5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陆股通成交额占比分位数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2F8B0183-D030-83C2-F069-185CD2BACC66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陆股通成交额占比分位数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lang="en-US" altLang="zh-CN" sz="1450" kern="0" dirty="0" smtClean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7.4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当前信号为强烈看空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760932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EF4243E1-4F1F-FE9F-B3C4-4836B8882A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="" xmlns:a16="http://schemas.microsoft.com/office/drawing/2014/main" id="{C5358526-7886-86FD-0EDD-1C33B66D8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="" xmlns:a16="http://schemas.microsoft.com/office/drawing/2014/main" id="{F1827992-2BC1-3100-34B3-F3F6383BA7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30</a:t>
            </a: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日</a:t>
            </a:r>
            <a:r>
              <a:rPr lang="en-US" altLang="zh-CN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RSI</a:t>
            </a:r>
            <a:endParaRPr lang="zh-CN" altLang="en-US" sz="2667" b="1" kern="0" dirty="0">
              <a:solidFill>
                <a:srgbClr val="C00000"/>
              </a:solidFill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38889BB0-F196-8FCE-B3FD-815E89CA1258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30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日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RSI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lang="en-US" altLang="zh-CN" sz="1450" kern="0" dirty="0" smtClean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51.82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信号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为小幅看空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849254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D180DC80-1BE5-55EB-A331-7DDAAD663C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="" xmlns:a16="http://schemas.microsoft.com/office/drawing/2014/main" id="{33C0563F-F841-D4B0-40E8-D07349590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="" xmlns:a16="http://schemas.microsoft.com/office/drawing/2014/main" id="{5A55AD09-04E7-65EE-DB6E-182FCB5BBF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股权风险溢价</a:t>
            </a:r>
            <a:r>
              <a:rPr lang="en-US" altLang="zh-CN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ERP</a:t>
            </a:r>
            <a:endParaRPr lang="zh-CN" altLang="en-US" sz="2667" b="1" kern="0" dirty="0">
              <a:solidFill>
                <a:srgbClr val="C00000"/>
              </a:solidFill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C336D3B1-79D5-ABE7-952E-9C858CAF4396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上证指数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ERP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4.25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信号为看空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1385887"/>
            <a:ext cx="10363200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51107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EC337D34-83D0-CE84-30E9-06F6D92889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="" xmlns:a16="http://schemas.microsoft.com/office/drawing/2014/main" id="{E89A8487-B749-D9A0-C4CF-2CAAFADE2A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47999" y="6007145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="" xmlns:a16="http://schemas.microsoft.com/office/drawing/2014/main" id="{43A77532-6C60-8E74-5F60-267D36C6FB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当前宏观择时</a:t>
            </a:r>
            <a:r>
              <a:rPr lang="zh-CN" altLang="en-US" sz="2667" b="1" kern="0" dirty="0" smtClean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模型</a:t>
            </a:r>
            <a:r>
              <a:rPr lang="zh-CN" altLang="en-US" sz="2667" b="1" kern="0" dirty="0" smtClean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转为看多，</a:t>
            </a: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情绪择时</a:t>
            </a:r>
            <a:r>
              <a:rPr lang="zh-CN" altLang="en-US" sz="2667" b="1" kern="0" dirty="0" smtClean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模型维持看</a:t>
            </a: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空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="" xmlns:a16="http://schemas.microsoft.com/office/drawing/2014/main" id="{A0F5529F-3471-6062-E490-335E012F2CC9}"/>
              </a:ext>
            </a:extLst>
          </p:cNvPr>
          <p:cNvSpPr/>
          <p:nvPr/>
        </p:nvSpPr>
        <p:spPr>
          <a:xfrm>
            <a:off x="408576" y="1816563"/>
            <a:ext cx="5400000" cy="2416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宏观择时模型得分</a:t>
            </a:r>
            <a:r>
              <a:rPr kumimoji="1" lang="zh-CN" altLang="en-US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为</a:t>
            </a:r>
            <a:r>
              <a:rPr kumimoji="1" lang="en-US" altLang="zh-CN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73.2%</a:t>
            </a: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，</a:t>
            </a:r>
            <a:r>
              <a:rPr kumimoji="1" lang="zh-CN" altLang="en-US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信号</a:t>
            </a:r>
            <a:r>
              <a:rPr kumimoji="1" lang="zh-CN" altLang="en-US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转为看多</a:t>
            </a:r>
            <a:endParaRPr kumimoji="1" lang="en-US" altLang="zh-CN" sz="1333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="" xmlns:a16="http://schemas.microsoft.com/office/drawing/2014/main" id="{CEF6828B-FE48-28FA-CB96-7CE65429B576}"/>
              </a:ext>
            </a:extLst>
          </p:cNvPr>
          <p:cNvSpPr/>
          <p:nvPr/>
        </p:nvSpPr>
        <p:spPr>
          <a:xfrm>
            <a:off x="6360819" y="1816563"/>
            <a:ext cx="5400000" cy="2416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情绪择时指标得分为</a:t>
            </a:r>
            <a:r>
              <a:rPr kumimoji="1" lang="en-US" altLang="zh-CN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-</a:t>
            </a:r>
            <a:r>
              <a:rPr kumimoji="1" lang="en-US" altLang="zh-CN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1.22</a:t>
            </a:r>
            <a:r>
              <a:rPr kumimoji="1" lang="zh-CN" altLang="en-US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，</a:t>
            </a:r>
            <a:r>
              <a:rPr kumimoji="1" lang="zh-CN" altLang="en-US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信号维持在看空区间</a:t>
            </a:r>
            <a:endParaRPr kumimoji="1" lang="en-US" altLang="zh-CN" sz="1333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FCDA1DD6-1993-F4B2-9FC8-68197E257036}"/>
              </a:ext>
            </a:extLst>
          </p:cNvPr>
          <p:cNvSpPr txBox="1"/>
          <p:nvPr/>
        </p:nvSpPr>
        <p:spPr>
          <a:xfrm>
            <a:off x="52004" y="2727098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强烈看多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="" xmlns:a16="http://schemas.microsoft.com/office/drawing/2014/main" id="{8AA3CCBA-4630-1182-9BD0-F5ADD88E70CB}"/>
              </a:ext>
            </a:extLst>
          </p:cNvPr>
          <p:cNvSpPr txBox="1"/>
          <p:nvPr/>
        </p:nvSpPr>
        <p:spPr>
          <a:xfrm>
            <a:off x="172001" y="3080570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看多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="" xmlns:a16="http://schemas.microsoft.com/office/drawing/2014/main" id="{D7CC311B-D64D-5311-28B9-9F163C19B1AB}"/>
              </a:ext>
            </a:extLst>
          </p:cNvPr>
          <p:cNvSpPr txBox="1"/>
          <p:nvPr/>
        </p:nvSpPr>
        <p:spPr>
          <a:xfrm>
            <a:off x="156010" y="3628184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中性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="" xmlns:a16="http://schemas.microsoft.com/office/drawing/2014/main" id="{CEB8ED70-EFD3-2EF1-F19E-958053670E79}"/>
              </a:ext>
            </a:extLst>
          </p:cNvPr>
          <p:cNvSpPr txBox="1"/>
          <p:nvPr/>
        </p:nvSpPr>
        <p:spPr>
          <a:xfrm>
            <a:off x="177106" y="4244662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看空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="" xmlns:a16="http://schemas.microsoft.com/office/drawing/2014/main" id="{D3891ADD-D734-C799-19C0-C0635ED5C06E}"/>
              </a:ext>
            </a:extLst>
          </p:cNvPr>
          <p:cNvSpPr txBox="1"/>
          <p:nvPr/>
        </p:nvSpPr>
        <p:spPr>
          <a:xfrm>
            <a:off x="58226" y="4660073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强烈看空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="" xmlns:a16="http://schemas.microsoft.com/office/drawing/2014/main" id="{90437085-CB7D-D8E8-44D2-9FD057892314}"/>
              </a:ext>
            </a:extLst>
          </p:cNvPr>
          <p:cNvSpPr txBox="1"/>
          <p:nvPr/>
        </p:nvSpPr>
        <p:spPr>
          <a:xfrm>
            <a:off x="6018716" y="2527993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强烈看多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="" xmlns:a16="http://schemas.microsoft.com/office/drawing/2014/main" id="{41488039-63C0-C401-5A89-8E3860F0F291}"/>
              </a:ext>
            </a:extLst>
          </p:cNvPr>
          <p:cNvSpPr txBox="1"/>
          <p:nvPr/>
        </p:nvSpPr>
        <p:spPr>
          <a:xfrm>
            <a:off x="6210059" y="3115213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看多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="" xmlns:a16="http://schemas.microsoft.com/office/drawing/2014/main" id="{16392334-05A5-CC01-9975-D1A3F510F9B8}"/>
              </a:ext>
            </a:extLst>
          </p:cNvPr>
          <p:cNvSpPr txBox="1"/>
          <p:nvPr/>
        </p:nvSpPr>
        <p:spPr>
          <a:xfrm>
            <a:off x="6176916" y="3497381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中性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="" xmlns:a16="http://schemas.microsoft.com/office/drawing/2014/main" id="{89EFA3B8-C7F1-D0A3-C861-DF76DE64F9AB}"/>
              </a:ext>
            </a:extLst>
          </p:cNvPr>
          <p:cNvSpPr txBox="1"/>
          <p:nvPr/>
        </p:nvSpPr>
        <p:spPr>
          <a:xfrm>
            <a:off x="6217703" y="4016299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看空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="" xmlns:a16="http://schemas.microsoft.com/office/drawing/2014/main" id="{914C53FD-6FD6-D8EE-DC12-4634389AE903}"/>
              </a:ext>
            </a:extLst>
          </p:cNvPr>
          <p:cNvSpPr txBox="1"/>
          <p:nvPr/>
        </p:nvSpPr>
        <p:spPr>
          <a:xfrm>
            <a:off x="6073218" y="4529270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强烈看空</a:t>
            </a:r>
          </a:p>
        </p:txBody>
      </p:sp>
      <p:graphicFrame>
        <p:nvGraphicFramePr>
          <p:cNvPr id="18" name="图表 17">
            <a:extLst>
              <a:ext uri="{FF2B5EF4-FFF2-40B4-BE49-F238E27FC236}">
                <a16:creationId xmlns:xdr="http://schemas.openxmlformats.org/drawingml/2006/spreadsheetDrawing" xmlns:a16="http://schemas.microsoft.com/office/drawing/2014/main" xmlns="" xmlns:lc="http://schemas.openxmlformats.org/drawingml/2006/lockedCanvas" id="{C3FC4BE8-7D9D-43E6-96F4-56C4C98427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50224426"/>
              </p:ext>
            </p:extLst>
          </p:nvPr>
        </p:nvGraphicFramePr>
        <p:xfrm>
          <a:off x="6607156" y="2184272"/>
          <a:ext cx="5028112" cy="3411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图表 18">
            <a:extLst>
              <a:ext uri="{FF2B5EF4-FFF2-40B4-BE49-F238E27FC236}">
                <a16:creationId xmlns:xdr="http://schemas.openxmlformats.org/drawingml/2006/spreadsheetDrawing" xmlns:a16="http://schemas.microsoft.com/office/drawing/2014/main" xmlns="" xmlns:lc="http://schemas.openxmlformats.org/drawingml/2006/lockedCanvas" id="{E5C0E6F9-6F12-B3AE-0BC3-3FE589ED50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0999282"/>
              </p:ext>
            </p:extLst>
          </p:nvPr>
        </p:nvGraphicFramePr>
        <p:xfrm>
          <a:off x="508601" y="2349189"/>
          <a:ext cx="4577443" cy="3081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45986763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82F636E0-9AEC-280D-12D7-0D65916741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="" xmlns:a16="http://schemas.microsoft.com/office/drawing/2014/main" id="{D84842CE-51AD-E7C4-0F86-A65B40BE8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="" xmlns:a16="http://schemas.microsoft.com/office/drawing/2014/main" id="{73908280-1772-7C46-5F59-01B1DD9E1C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综合择时信号为</a:t>
            </a:r>
            <a:r>
              <a:rPr lang="zh-CN" altLang="en-US" sz="2667" b="1" kern="0" dirty="0" smtClean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小幅</a:t>
            </a:r>
            <a:r>
              <a:rPr lang="zh-CN" altLang="en-US" sz="2667" b="1" kern="0" dirty="0" smtClean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看多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="" xmlns:a16="http://schemas.microsoft.com/office/drawing/2014/main" id="{CAA751AB-99E3-C27B-A6C3-022267270580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以组合仓位作为综合择时信号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预计信号在周二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转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5%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；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组合实际仓位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48.53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上周并未进行调仓。</a:t>
            </a:r>
            <a:endParaRPr kumimoji="0" lang="en-US" altLang="zh-CN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="" xmlns:a16="http://schemas.microsoft.com/office/drawing/2014/main" id="{306081E3-E253-CAD0-0660-972EDC58DB6A}"/>
              </a:ext>
            </a:extLst>
          </p:cNvPr>
          <p:cNvSpPr txBox="1"/>
          <p:nvPr/>
        </p:nvSpPr>
        <p:spPr>
          <a:xfrm>
            <a:off x="113007" y="6033011"/>
            <a:ext cx="9834463" cy="12003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R="0" lvl="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注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.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综合择时指标以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股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+5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债作为配置基准，宏观因子择时模型生成初始仓位：强烈看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8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看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6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中性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看空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3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强烈看空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2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；再根据情绪择时指标小幅调整仓位：强烈看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+1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看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+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中性不调整，看空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-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强烈看空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-1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因此信号仓位区间在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0%-9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2.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在具体回测时，我们跳过了调仓幅度小于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的调仓信号；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-5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基准每年进行再平衡</a:t>
            </a:r>
          </a:p>
          <a:p>
            <a:pPr marR="0" lvl="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zh-CN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R="0" lvl="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zh-CN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8453" y="1619159"/>
            <a:ext cx="9311044" cy="39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748274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C34B3ADB-2BFB-B701-B8B4-122929BC31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="" xmlns:a16="http://schemas.microsoft.com/office/drawing/2014/main" id="{792F12D9-71E0-8C7F-1625-688E2526D1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="" xmlns:a16="http://schemas.microsoft.com/office/drawing/2014/main" id="{06B52891-C0DB-DF79-FA38-D26ABFDAB4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综合择时指标策略收益率情况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="" xmlns:a16="http://schemas.microsoft.com/office/drawing/2014/main" id="{2EA50494-FA58-4A7B-2F57-4AF533607EB6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近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个交易日，组合总收益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-0.17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与基准基本持平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。</a:t>
            </a:r>
            <a:endParaRPr kumimoji="0" lang="en-US" altLang="zh-CN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701" y="2850341"/>
            <a:ext cx="5752381" cy="1533333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5302" y="1650094"/>
            <a:ext cx="5334000" cy="3933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008713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BE771B96-7B27-72AF-8BF9-B83BCD16E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="" xmlns:a16="http://schemas.microsoft.com/office/drawing/2014/main" id="{E6EE656F-21A5-6BB4-BDC8-F0179CA79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="" xmlns:a16="http://schemas.microsoft.com/office/drawing/2014/main" id="{7896BBEA-0F74-06A4-E2E1-41005305A8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综合择时指标策略长周期结果展示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="" xmlns:a16="http://schemas.microsoft.com/office/drawing/2014/main" id="{2AAF50B1-C286-7D3D-1A15-72D0E9FBD744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自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2020.4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以来的总收益率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78.44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最大回撤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7.44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夏普比率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.10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005" y="2353740"/>
            <a:ext cx="2952381" cy="280000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6279" y="2238398"/>
            <a:ext cx="4309452" cy="3172893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01719" y="2238398"/>
            <a:ext cx="4257583" cy="3102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69156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87CE5000-A238-1296-0211-601303B3B5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59D6071C-8924-FB2F-63ED-C30A88AC40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宏观因子择时模型细项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7EB7E744-E9BC-D5BA-BEC6-B589B8A03DC6}"/>
              </a:ext>
            </a:extLst>
          </p:cNvPr>
          <p:cNvSpPr txBox="1"/>
          <p:nvPr/>
        </p:nvSpPr>
        <p:spPr>
          <a:xfrm>
            <a:off x="352352" y="809372"/>
            <a:ext cx="11774659" cy="14619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zh-CN" altLang="en-US" sz="14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宏观因子择时模型</a:t>
            </a:r>
            <a:r>
              <a:rPr lang="zh-CN" altLang="en-US" sz="1450" b="1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打分回升主要因高频指标反弹，主因消费基数回落带动同比跌幅进一步收窄：</a:t>
            </a:r>
            <a:r>
              <a:rPr lang="en-US" altLang="zh-CN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11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月中下旬起，商品零售同比降幅持续改善，全月社零同比较</a:t>
            </a:r>
            <a:r>
              <a:rPr lang="en-US" altLang="zh-CN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11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月或仍有小幅回落。考虑到当前商品零售环比韧性不弱，同时去年同期高基数影响已结束，</a:t>
            </a:r>
            <a:r>
              <a:rPr lang="en-US" altLang="zh-CN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12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月社零有望温和回升。</a:t>
            </a:r>
            <a:endParaRPr lang="en-US" altLang="zh-CN" sz="1450" kern="0" dirty="0">
              <a:solidFill>
                <a:srgbClr val="000000"/>
              </a:solidFill>
              <a:latin typeface="Arial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marR="0" lvl="0" indent="-285750" algn="l" defTabSz="3251037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高频其他方面：①出口方面，本周运量运价同比增速均有所回落，但全月仍有望实现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0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左右增长；②地产方面，二手房供需格局依然偏松，成交量同比降幅突破年内低点，北京二手房价领跌；③基建方面，受资金掣肘影响，实物量改善斜率放缓。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xmlns="" id="{24AEE667-AE95-03E8-5A15-B2074FA6A720}"/>
              </a:ext>
            </a:extLst>
          </p:cNvPr>
          <p:cNvSpPr/>
          <p:nvPr/>
        </p:nvSpPr>
        <p:spPr>
          <a:xfrm>
            <a:off x="625311" y="2619105"/>
            <a:ext cx="5749363" cy="3526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33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宏观择时模型打分下降，主要缘于高频指标回落</a:t>
            </a:r>
            <a:endParaRPr kumimoji="1" lang="en-US" altLang="zh-CN" sz="1333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xmlns="" id="{2462F58A-9B8B-9762-9704-02C387023376}"/>
              </a:ext>
            </a:extLst>
          </p:cNvPr>
          <p:cNvSpPr/>
          <p:nvPr/>
        </p:nvSpPr>
        <p:spPr>
          <a:xfrm>
            <a:off x="6537961" y="2619105"/>
            <a:ext cx="5185954" cy="3526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伴随去年同期高基数影响结束，近期消费增速温和回升</a:t>
            </a:r>
            <a:endParaRPr kumimoji="1" lang="en-US" altLang="zh-CN" sz="1333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2" name="图表 1">
            <a:extLst>
              <a:ext uri="{FF2B5EF4-FFF2-40B4-BE49-F238E27FC236}">
                <a16:creationId xmlns:a16="http://schemas.microsoft.com/office/drawing/2014/main" xmlns="" id="{23E61066-D394-4C6F-B040-E0F63CAC6C62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625310" y="3141272"/>
          <a:ext cx="5749363" cy="34366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图表 2">
            <a:extLst>
              <a:ext uri="{FF2B5EF4-FFF2-40B4-BE49-F238E27FC236}">
                <a16:creationId xmlns:a16="http://schemas.microsoft.com/office/drawing/2014/main" xmlns="" id="{A130BFE5-2B83-C583-F3F6-519AA861007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6384144" y="3141272"/>
          <a:ext cx="5107130" cy="34366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112149652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A60D191E-15DB-1141-7B24-C005E1F4AB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="" xmlns:a16="http://schemas.microsoft.com/office/drawing/2014/main" id="{A5A9678E-525F-3AB4-EEAA-FEE9731093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="" xmlns:a16="http://schemas.microsoft.com/office/drawing/2014/main" id="{A08E28DA-8F7E-E474-FCFF-70C441F501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情绪择时指标细项情况</a:t>
            </a:r>
          </a:p>
        </p:txBody>
      </p:sp>
      <p:graphicFrame>
        <p:nvGraphicFramePr>
          <p:cNvPr id="5" name="表格 4">
            <a:extLst>
              <a:ext uri="{FF2B5EF4-FFF2-40B4-BE49-F238E27FC236}">
                <a16:creationId xmlns="" xmlns:a16="http://schemas.microsoft.com/office/drawing/2014/main" id="{B60D5A1F-25F2-B037-7754-1C7840E7D0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1239948"/>
              </p:ext>
            </p:extLst>
          </p:nvPr>
        </p:nvGraphicFramePr>
        <p:xfrm>
          <a:off x="634906" y="2053834"/>
          <a:ext cx="5106800" cy="3149750"/>
        </p:xfrm>
        <a:graphic>
          <a:graphicData uri="http://schemas.openxmlformats.org/drawingml/2006/table">
            <a:tbl>
              <a:tblPr/>
              <a:tblGrid>
                <a:gridCol w="4252355">
                  <a:extLst>
                    <a:ext uri="{9D8B030D-6E8A-4147-A177-3AD203B41FA5}">
                      <a16:colId xmlns="" xmlns:a16="http://schemas.microsoft.com/office/drawing/2014/main" val="1779177242"/>
                    </a:ext>
                  </a:extLst>
                </a:gridCol>
                <a:gridCol w="854445">
                  <a:extLst>
                    <a:ext uri="{9D8B030D-6E8A-4147-A177-3AD203B41FA5}">
                      <a16:colId xmlns="" xmlns:a16="http://schemas.microsoft.com/office/drawing/2014/main" val="1318616992"/>
                    </a:ext>
                  </a:extLst>
                </a:gridCol>
              </a:tblGrid>
              <a:tr h="314975">
                <a:tc gridSpan="2"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zh-CN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市场情绪面指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20793550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60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日均线上方个股占比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中性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821640045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涨跌停数量占比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中性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57560330"/>
                  </a:ext>
                </a:extLst>
              </a:tr>
              <a:tr h="314975">
                <a:tc gridSpan="2"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zh-CN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市场资金面指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702572218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融资融券情况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中性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821094580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陆股通交易额占比历史分位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强烈看空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156595373"/>
                  </a:ext>
                </a:extLst>
              </a:tr>
              <a:tr h="314975">
                <a:tc gridSpan="2"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zh-CN" alt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市场技术面指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78908227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RSI（30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日）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小幅看空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190602381"/>
                  </a:ext>
                </a:extLst>
              </a:tr>
              <a:tr h="314975">
                <a:tc gridSpan="2"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zh-CN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市场估值面指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921687134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股权风险溢价</a:t>
                      </a:r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ERP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看空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137154910"/>
                  </a:ext>
                </a:extLst>
              </a:tr>
            </a:tbl>
          </a:graphicData>
        </a:graphic>
      </p:graphicFrame>
      <p:grpSp>
        <p:nvGrpSpPr>
          <p:cNvPr id="28" name="组合 27">
            <a:extLst>
              <a:ext uri="{FF2B5EF4-FFF2-40B4-BE49-F238E27FC236}">
                <a16:creationId xmlns="" xmlns:a16="http://schemas.microsoft.com/office/drawing/2014/main" id="{B36AC4DD-812D-F2C2-2CBA-51B0A71855FF}"/>
              </a:ext>
            </a:extLst>
          </p:cNvPr>
          <p:cNvGrpSpPr/>
          <p:nvPr/>
        </p:nvGrpSpPr>
        <p:grpSpPr>
          <a:xfrm>
            <a:off x="698594" y="980916"/>
            <a:ext cx="10858500" cy="4896168"/>
            <a:chOff x="655546" y="1162024"/>
            <a:chExt cx="10858500" cy="4896168"/>
          </a:xfrm>
        </p:grpSpPr>
        <p:grpSp>
          <p:nvGrpSpPr>
            <p:cNvPr id="29" name="组合 28">
              <a:extLst>
                <a:ext uri="{FF2B5EF4-FFF2-40B4-BE49-F238E27FC236}">
                  <a16:creationId xmlns="" xmlns:a16="http://schemas.microsoft.com/office/drawing/2014/main" id="{0ADAAA48-03C9-6221-77DC-48FE87DBB7A3}"/>
                </a:ext>
              </a:extLst>
            </p:cNvPr>
            <p:cNvGrpSpPr/>
            <p:nvPr/>
          </p:nvGrpSpPr>
          <p:grpSpPr>
            <a:xfrm>
              <a:off x="779464" y="1669970"/>
              <a:ext cx="10619804" cy="4388222"/>
              <a:chOff x="779464" y="1903769"/>
              <a:chExt cx="10619804" cy="4388222"/>
            </a:xfrm>
          </p:grpSpPr>
          <p:sp>
            <p:nvSpPr>
              <p:cNvPr id="31" name="矩形 30">
                <a:extLst>
                  <a:ext uri="{FF2B5EF4-FFF2-40B4-BE49-F238E27FC236}">
                    <a16:creationId xmlns="" xmlns:a16="http://schemas.microsoft.com/office/drawing/2014/main" id="{1CD8FFEB-1269-E04D-E254-CB2D2EEB76B0}"/>
                  </a:ext>
                </a:extLst>
              </p:cNvPr>
              <p:cNvSpPr/>
              <p:nvPr/>
            </p:nvSpPr>
            <p:spPr bwMode="auto">
              <a:xfrm>
                <a:off x="779464" y="4690159"/>
                <a:ext cx="3247529" cy="9550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ndara" panose="020E0502030303020204" pitchFamily="34" charset="0"/>
                  <a:ea typeface="华文楷体" panose="02010600040101010101" pitchFamily="2" charset="-122"/>
                </a:endParaRPr>
              </a:p>
            </p:txBody>
          </p:sp>
          <p:sp>
            <p:nvSpPr>
              <p:cNvPr id="32" name="矩形 31">
                <a:extLst>
                  <a:ext uri="{FF2B5EF4-FFF2-40B4-BE49-F238E27FC236}">
                    <a16:creationId xmlns="" xmlns:a16="http://schemas.microsoft.com/office/drawing/2014/main" id="{2606814A-AA4C-71F1-4E90-FDD53AAEEDC8}"/>
                  </a:ext>
                </a:extLst>
              </p:cNvPr>
              <p:cNvSpPr/>
              <p:nvPr/>
            </p:nvSpPr>
            <p:spPr bwMode="auto">
              <a:xfrm flipH="1">
                <a:off x="8151739" y="3132192"/>
                <a:ext cx="3247529" cy="9484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ndara" panose="020E0502030303020204" pitchFamily="34" charset="0"/>
                  <a:ea typeface="华文楷体" panose="02010600040101010101" pitchFamily="2" charset="-122"/>
                </a:endParaRPr>
              </a:p>
            </p:txBody>
          </p:sp>
          <p:sp>
            <p:nvSpPr>
              <p:cNvPr id="33" name="矩形 32">
                <a:extLst>
                  <a:ext uri="{FF2B5EF4-FFF2-40B4-BE49-F238E27FC236}">
                    <a16:creationId xmlns="" xmlns:a16="http://schemas.microsoft.com/office/drawing/2014/main" id="{2AD8E901-A8A3-8761-68E7-2CDD5148ECBC}"/>
                  </a:ext>
                </a:extLst>
              </p:cNvPr>
              <p:cNvSpPr/>
              <p:nvPr/>
            </p:nvSpPr>
            <p:spPr bwMode="auto">
              <a:xfrm flipH="1">
                <a:off x="8107753" y="4828889"/>
                <a:ext cx="3247529" cy="14631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ndara" panose="020E0502030303020204" pitchFamily="34" charset="0"/>
                  <a:ea typeface="华文楷体" panose="02010600040101010101" pitchFamily="2" charset="-122"/>
                </a:endParaRPr>
              </a:p>
            </p:txBody>
          </p:sp>
          <p:grpSp>
            <p:nvGrpSpPr>
              <p:cNvPr id="34" name="组合 33">
                <a:extLst>
                  <a:ext uri="{FF2B5EF4-FFF2-40B4-BE49-F238E27FC236}">
                    <a16:creationId xmlns="" xmlns:a16="http://schemas.microsoft.com/office/drawing/2014/main" id="{50BC34E8-55F3-BF55-B533-49E7A5203148}"/>
                  </a:ext>
                </a:extLst>
              </p:cNvPr>
              <p:cNvGrpSpPr/>
              <p:nvPr/>
            </p:nvGrpSpPr>
            <p:grpSpPr>
              <a:xfrm>
                <a:off x="6706858" y="1903769"/>
                <a:ext cx="4376164" cy="4375349"/>
                <a:chOff x="6757354" y="1027290"/>
                <a:chExt cx="4842800" cy="4841898"/>
              </a:xfrm>
            </p:grpSpPr>
            <p:grpSp>
              <p:nvGrpSpPr>
                <p:cNvPr id="35" name="组合 34">
                  <a:extLst>
                    <a:ext uri="{FF2B5EF4-FFF2-40B4-BE49-F238E27FC236}">
                      <a16:creationId xmlns="" xmlns:a16="http://schemas.microsoft.com/office/drawing/2014/main" id="{FB3C6D98-E3B4-0559-76EA-DB8D45EA2141}"/>
                    </a:ext>
                  </a:extLst>
                </p:cNvPr>
                <p:cNvGrpSpPr/>
                <p:nvPr/>
              </p:nvGrpSpPr>
              <p:grpSpPr>
                <a:xfrm>
                  <a:off x="7362970" y="1027290"/>
                  <a:ext cx="2473570" cy="2508963"/>
                  <a:chOff x="7362970" y="1027290"/>
                  <a:chExt cx="2473570" cy="2508963"/>
                </a:xfrm>
              </p:grpSpPr>
              <p:sp>
                <p:nvSpPr>
                  <p:cNvPr id="45" name="任意多边形: 形状 44">
                    <a:extLst>
                      <a:ext uri="{FF2B5EF4-FFF2-40B4-BE49-F238E27FC236}">
                        <a16:creationId xmlns="" xmlns:a16="http://schemas.microsoft.com/office/drawing/2014/main" id="{85E360D2-7264-0F47-5CBA-71B0E85B679D}"/>
                      </a:ext>
                    </a:extLst>
                  </p:cNvPr>
                  <p:cNvSpPr/>
                  <p:nvPr/>
                </p:nvSpPr>
                <p:spPr bwMode="auto">
                  <a:xfrm rot="19397468">
                    <a:off x="7362970" y="1027290"/>
                    <a:ext cx="2473570" cy="2508963"/>
                  </a:xfrm>
                  <a:custGeom>
                    <a:avLst/>
                    <a:gdLst>
                      <a:gd name="T0" fmla="*/ 3563 w 10688"/>
                      <a:gd name="T1" fmla="*/ 7062 h 10844"/>
                      <a:gd name="T2" fmla="*/ 3563 w 10688"/>
                      <a:gd name="T3" fmla="*/ 7062 h 10844"/>
                      <a:gd name="T4" fmla="*/ 4563 w 10688"/>
                      <a:gd name="T5" fmla="*/ 10749 h 10844"/>
                      <a:gd name="T6" fmla="*/ 7937 w 10688"/>
                      <a:gd name="T7" fmla="*/ 9812 h 10844"/>
                      <a:gd name="T8" fmla="*/ 9062 w 10688"/>
                      <a:gd name="T9" fmla="*/ 2782 h 10844"/>
                      <a:gd name="T10" fmla="*/ 2032 w 10688"/>
                      <a:gd name="T11" fmla="*/ 1626 h 10844"/>
                      <a:gd name="T12" fmla="*/ 0 w 10688"/>
                      <a:gd name="T13" fmla="*/ 4907 h 10844"/>
                      <a:gd name="T14" fmla="*/ 3563 w 10688"/>
                      <a:gd name="T15" fmla="*/ 7062 h 108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688" h="10844">
                        <a:moveTo>
                          <a:pt x="3563" y="7062"/>
                        </a:moveTo>
                        <a:lnTo>
                          <a:pt x="3563" y="7062"/>
                        </a:lnTo>
                        <a:cubicBezTo>
                          <a:pt x="4375" y="8187"/>
                          <a:pt x="4688" y="9500"/>
                          <a:pt x="4563" y="10749"/>
                        </a:cubicBezTo>
                        <a:cubicBezTo>
                          <a:pt x="5718" y="10843"/>
                          <a:pt x="6906" y="10562"/>
                          <a:pt x="7937" y="9812"/>
                        </a:cubicBezTo>
                        <a:cubicBezTo>
                          <a:pt x="10187" y="8187"/>
                          <a:pt x="10687" y="5032"/>
                          <a:pt x="9062" y="2782"/>
                        </a:cubicBezTo>
                        <a:cubicBezTo>
                          <a:pt x="7437" y="500"/>
                          <a:pt x="4282" y="0"/>
                          <a:pt x="2032" y="1626"/>
                        </a:cubicBezTo>
                        <a:cubicBezTo>
                          <a:pt x="907" y="2438"/>
                          <a:pt x="219" y="3657"/>
                          <a:pt x="0" y="4907"/>
                        </a:cubicBezTo>
                        <a:cubicBezTo>
                          <a:pt x="1375" y="5126"/>
                          <a:pt x="2688" y="5843"/>
                          <a:pt x="3563" y="7062"/>
                        </a:cubicBezTo>
                      </a:path>
                    </a:pathLst>
                  </a:custGeom>
                  <a:gradFill flip="none" rotWithShape="1">
                    <a:gsLst>
                      <a:gs pos="0">
                        <a:srgbClr val="C30F1B">
                          <a:lumMod val="60000"/>
                          <a:lumOff val="40000"/>
                        </a:srgbClr>
                      </a:gs>
                      <a:gs pos="75000">
                        <a:srgbClr val="C30F1B"/>
                      </a:gs>
                    </a:gsLst>
                    <a:lin ang="2700000" scaled="1"/>
                    <a:tileRect/>
                  </a:gradFill>
                  <a:ln w="12700" cap="flat" cmpd="sng" algn="ctr">
                    <a:solidFill>
                      <a:srgbClr val="FFFFFF"/>
                    </a:solidFill>
                    <a:prstDash val="solid"/>
                    <a:miter lim="800000"/>
                  </a:ln>
                  <a:effectLst>
                    <a:outerShdw blurRad="127000" dist="63500" dir="2700000" algn="tl" rotWithShape="0">
                      <a:srgbClr val="BA9873">
                        <a:alpha val="15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/>
                      <a:ea typeface="华文楷体"/>
                      <a:cs typeface="+mn-cs"/>
                    </a:endParaRPr>
                  </a:p>
                </p:txBody>
              </p:sp>
              <p:sp>
                <p:nvSpPr>
                  <p:cNvPr id="46" name="文本框 45">
                    <a:extLst>
                      <a:ext uri="{FF2B5EF4-FFF2-40B4-BE49-F238E27FC236}">
                        <a16:creationId xmlns="" xmlns:a16="http://schemas.microsoft.com/office/drawing/2014/main" id="{662B80D9-F37C-88C9-92B1-874923565C55}"/>
                      </a:ext>
                    </a:extLst>
                  </p:cNvPr>
                  <p:cNvSpPr txBox="1"/>
                  <p:nvPr/>
                </p:nvSpPr>
                <p:spPr>
                  <a:xfrm>
                    <a:off x="8250940" y="1773940"/>
                    <a:ext cx="697627" cy="1015663"/>
                  </a:xfrm>
                  <a:prstGeom prst="rect">
                    <a:avLst/>
                  </a:prstGeom>
                  <a:noFill/>
                </p:spPr>
                <p:txBody>
                  <a:bodyPr wrap="none">
                    <a:normAutofit lnSpcReduction="10000"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6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S</a:t>
                    </a:r>
                    <a:r>
                      <a:rPr kumimoji="0" lang="en-US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entiment</a:t>
                    </a:r>
                    <a:endParaRPr kumimoji="0" lang="en-US" sz="6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华文楷体" panose="02010600040101010101" pitchFamily="2" charset="-122"/>
                    </a:endParaRPr>
                  </a:p>
                </p:txBody>
              </p:sp>
            </p:grpSp>
            <p:grpSp>
              <p:nvGrpSpPr>
                <p:cNvPr id="36" name="组合 35">
                  <a:extLst>
                    <a:ext uri="{FF2B5EF4-FFF2-40B4-BE49-F238E27FC236}">
                      <a16:creationId xmlns="" xmlns:a16="http://schemas.microsoft.com/office/drawing/2014/main" id="{569D00D8-07E7-8262-2067-85FD0F2BE4EF}"/>
                    </a:ext>
                  </a:extLst>
                </p:cNvPr>
                <p:cNvGrpSpPr/>
                <p:nvPr/>
              </p:nvGrpSpPr>
              <p:grpSpPr>
                <a:xfrm>
                  <a:off x="9090866" y="1629743"/>
                  <a:ext cx="2509288" cy="2473249"/>
                  <a:chOff x="9090866" y="1629743"/>
                  <a:chExt cx="2509288" cy="2473249"/>
                </a:xfrm>
              </p:grpSpPr>
              <p:sp>
                <p:nvSpPr>
                  <p:cNvPr id="43" name="任意多边形: 形状 42">
                    <a:extLst>
                      <a:ext uri="{FF2B5EF4-FFF2-40B4-BE49-F238E27FC236}">
                        <a16:creationId xmlns="" xmlns:a16="http://schemas.microsoft.com/office/drawing/2014/main" id="{DD5E2252-3675-8E19-555E-5E50163510D0}"/>
                      </a:ext>
                    </a:extLst>
                  </p:cNvPr>
                  <p:cNvSpPr/>
                  <p:nvPr/>
                </p:nvSpPr>
                <p:spPr bwMode="auto">
                  <a:xfrm rot="3202081">
                    <a:off x="9108885" y="1611724"/>
                    <a:ext cx="2473249" cy="2509288"/>
                  </a:xfrm>
                  <a:custGeom>
                    <a:avLst/>
                    <a:gdLst>
                      <a:gd name="T0" fmla="*/ 3563 w 10688"/>
                      <a:gd name="T1" fmla="*/ 7062 h 10844"/>
                      <a:gd name="T2" fmla="*/ 3563 w 10688"/>
                      <a:gd name="T3" fmla="*/ 7062 h 10844"/>
                      <a:gd name="T4" fmla="*/ 4563 w 10688"/>
                      <a:gd name="T5" fmla="*/ 10749 h 10844"/>
                      <a:gd name="T6" fmla="*/ 7937 w 10688"/>
                      <a:gd name="T7" fmla="*/ 9812 h 10844"/>
                      <a:gd name="T8" fmla="*/ 9062 w 10688"/>
                      <a:gd name="T9" fmla="*/ 2782 h 10844"/>
                      <a:gd name="T10" fmla="*/ 2032 w 10688"/>
                      <a:gd name="T11" fmla="*/ 1626 h 10844"/>
                      <a:gd name="T12" fmla="*/ 0 w 10688"/>
                      <a:gd name="T13" fmla="*/ 4907 h 10844"/>
                      <a:gd name="T14" fmla="*/ 3563 w 10688"/>
                      <a:gd name="T15" fmla="*/ 7062 h 108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688" h="10844">
                        <a:moveTo>
                          <a:pt x="3563" y="7062"/>
                        </a:moveTo>
                        <a:lnTo>
                          <a:pt x="3563" y="7062"/>
                        </a:lnTo>
                        <a:cubicBezTo>
                          <a:pt x="4375" y="8187"/>
                          <a:pt x="4688" y="9500"/>
                          <a:pt x="4563" y="10749"/>
                        </a:cubicBezTo>
                        <a:cubicBezTo>
                          <a:pt x="5718" y="10843"/>
                          <a:pt x="6906" y="10562"/>
                          <a:pt x="7937" y="9812"/>
                        </a:cubicBezTo>
                        <a:cubicBezTo>
                          <a:pt x="10187" y="8187"/>
                          <a:pt x="10687" y="5032"/>
                          <a:pt x="9062" y="2782"/>
                        </a:cubicBezTo>
                        <a:cubicBezTo>
                          <a:pt x="7437" y="500"/>
                          <a:pt x="4282" y="0"/>
                          <a:pt x="2032" y="1626"/>
                        </a:cubicBezTo>
                        <a:cubicBezTo>
                          <a:pt x="907" y="2438"/>
                          <a:pt x="219" y="3657"/>
                          <a:pt x="0" y="4907"/>
                        </a:cubicBezTo>
                        <a:cubicBezTo>
                          <a:pt x="1375" y="5126"/>
                          <a:pt x="2688" y="5843"/>
                          <a:pt x="3563" y="7062"/>
                        </a:cubicBezTo>
                      </a:path>
                    </a:pathLst>
                  </a:custGeom>
                  <a:gradFill flip="none" rotWithShape="1">
                    <a:gsLst>
                      <a:gs pos="0">
                        <a:srgbClr val="BA9873">
                          <a:lumMod val="60000"/>
                          <a:lumOff val="40000"/>
                        </a:srgbClr>
                      </a:gs>
                      <a:gs pos="75000">
                        <a:srgbClr val="BA9873"/>
                      </a:gs>
                    </a:gsLst>
                    <a:lin ang="2700000" scaled="1"/>
                    <a:tileRect/>
                  </a:gradFill>
                  <a:ln w="12700" cap="flat" cmpd="sng" algn="ctr">
                    <a:solidFill>
                      <a:srgbClr val="FFFFFF"/>
                    </a:solidFill>
                    <a:prstDash val="solid"/>
                    <a:miter lim="800000"/>
                  </a:ln>
                  <a:effectLst>
                    <a:outerShdw blurRad="127000" dist="63500" dir="2700000" algn="tl" rotWithShape="0">
                      <a:srgbClr val="BA9873">
                        <a:alpha val="15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/>
                      <a:ea typeface="华文楷体"/>
                      <a:cs typeface="+mn-cs"/>
                    </a:endParaRPr>
                  </a:p>
                </p:txBody>
              </p:sp>
              <p:sp>
                <p:nvSpPr>
                  <p:cNvPr id="44" name="文本框 43">
                    <a:extLst>
                      <a:ext uri="{FF2B5EF4-FFF2-40B4-BE49-F238E27FC236}">
                        <a16:creationId xmlns="" xmlns:a16="http://schemas.microsoft.com/office/drawing/2014/main" id="{08C6B20D-B733-DB1F-61B0-3A1FE638123C}"/>
                      </a:ext>
                    </a:extLst>
                  </p:cNvPr>
                  <p:cNvSpPr txBox="1"/>
                  <p:nvPr/>
                </p:nvSpPr>
                <p:spPr>
                  <a:xfrm>
                    <a:off x="10116080" y="2351003"/>
                    <a:ext cx="910827" cy="1015663"/>
                  </a:xfrm>
                  <a:prstGeom prst="rect">
                    <a:avLst/>
                  </a:prstGeom>
                  <a:noFill/>
                </p:spPr>
                <p:txBody>
                  <a:bodyPr wrap="none">
                    <a:normAutofit lnSpcReduction="10000"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6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T</a:t>
                    </a:r>
                    <a:r>
                      <a:rPr kumimoji="0" lang="en-US" altLang="zh-CN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echnical</a:t>
                    </a: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华文楷体" panose="02010600040101010101" pitchFamily="2" charset="-122"/>
                    </a:endParaRPr>
                  </a:p>
                </p:txBody>
              </p:sp>
            </p:grpSp>
            <p:grpSp>
              <p:nvGrpSpPr>
                <p:cNvPr id="37" name="组合 36">
                  <a:extLst>
                    <a:ext uri="{FF2B5EF4-FFF2-40B4-BE49-F238E27FC236}">
                      <a16:creationId xmlns="" xmlns:a16="http://schemas.microsoft.com/office/drawing/2014/main" id="{E6BE56F9-CB06-F028-4C2E-0E00E04C78F2}"/>
                    </a:ext>
                  </a:extLst>
                </p:cNvPr>
                <p:cNvGrpSpPr/>
                <p:nvPr/>
              </p:nvGrpSpPr>
              <p:grpSpPr>
                <a:xfrm>
                  <a:off x="8520044" y="3360226"/>
                  <a:ext cx="2473570" cy="2508962"/>
                  <a:chOff x="8520044" y="3360226"/>
                  <a:chExt cx="2473570" cy="2508962"/>
                </a:xfrm>
              </p:grpSpPr>
              <p:sp>
                <p:nvSpPr>
                  <p:cNvPr id="41" name="任意多边形: 形状 40">
                    <a:extLst>
                      <a:ext uri="{FF2B5EF4-FFF2-40B4-BE49-F238E27FC236}">
                        <a16:creationId xmlns="" xmlns:a16="http://schemas.microsoft.com/office/drawing/2014/main" id="{0E5CA2F5-F78B-5A69-214B-62AE8410A120}"/>
                      </a:ext>
                    </a:extLst>
                  </p:cNvPr>
                  <p:cNvSpPr/>
                  <p:nvPr/>
                </p:nvSpPr>
                <p:spPr bwMode="auto">
                  <a:xfrm rot="8579122">
                    <a:off x="8520044" y="3360226"/>
                    <a:ext cx="2473570" cy="2508962"/>
                  </a:xfrm>
                  <a:custGeom>
                    <a:avLst/>
                    <a:gdLst>
                      <a:gd name="T0" fmla="*/ 3563 w 10688"/>
                      <a:gd name="T1" fmla="*/ 7062 h 10844"/>
                      <a:gd name="T2" fmla="*/ 3563 w 10688"/>
                      <a:gd name="T3" fmla="*/ 7062 h 10844"/>
                      <a:gd name="T4" fmla="*/ 4563 w 10688"/>
                      <a:gd name="T5" fmla="*/ 10749 h 10844"/>
                      <a:gd name="T6" fmla="*/ 7937 w 10688"/>
                      <a:gd name="T7" fmla="*/ 9812 h 10844"/>
                      <a:gd name="T8" fmla="*/ 9062 w 10688"/>
                      <a:gd name="T9" fmla="*/ 2782 h 10844"/>
                      <a:gd name="T10" fmla="*/ 2032 w 10688"/>
                      <a:gd name="T11" fmla="*/ 1626 h 10844"/>
                      <a:gd name="T12" fmla="*/ 0 w 10688"/>
                      <a:gd name="T13" fmla="*/ 4907 h 10844"/>
                      <a:gd name="T14" fmla="*/ 3563 w 10688"/>
                      <a:gd name="T15" fmla="*/ 7062 h 108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688" h="10844">
                        <a:moveTo>
                          <a:pt x="3563" y="7062"/>
                        </a:moveTo>
                        <a:lnTo>
                          <a:pt x="3563" y="7062"/>
                        </a:lnTo>
                        <a:cubicBezTo>
                          <a:pt x="4375" y="8187"/>
                          <a:pt x="4688" y="9500"/>
                          <a:pt x="4563" y="10749"/>
                        </a:cubicBezTo>
                        <a:cubicBezTo>
                          <a:pt x="5718" y="10843"/>
                          <a:pt x="6906" y="10562"/>
                          <a:pt x="7937" y="9812"/>
                        </a:cubicBezTo>
                        <a:cubicBezTo>
                          <a:pt x="10187" y="8187"/>
                          <a:pt x="10687" y="5032"/>
                          <a:pt x="9062" y="2782"/>
                        </a:cubicBezTo>
                        <a:cubicBezTo>
                          <a:pt x="7437" y="500"/>
                          <a:pt x="4282" y="0"/>
                          <a:pt x="2032" y="1626"/>
                        </a:cubicBezTo>
                        <a:cubicBezTo>
                          <a:pt x="907" y="2438"/>
                          <a:pt x="219" y="3657"/>
                          <a:pt x="0" y="4907"/>
                        </a:cubicBezTo>
                        <a:cubicBezTo>
                          <a:pt x="1375" y="5126"/>
                          <a:pt x="2688" y="5843"/>
                          <a:pt x="3563" y="7062"/>
                        </a:cubicBezTo>
                      </a:path>
                    </a:pathLst>
                  </a:custGeom>
                  <a:gradFill flip="none" rotWithShape="1">
                    <a:gsLst>
                      <a:gs pos="0">
                        <a:srgbClr val="C8C8C8">
                          <a:lumMod val="60000"/>
                          <a:lumOff val="40000"/>
                        </a:srgbClr>
                      </a:gs>
                      <a:gs pos="75000">
                        <a:srgbClr val="C8C8C8"/>
                      </a:gs>
                    </a:gsLst>
                    <a:lin ang="2700000" scaled="1"/>
                    <a:tileRect/>
                  </a:gradFill>
                  <a:ln w="12700" cap="flat" cmpd="sng" algn="ctr">
                    <a:solidFill>
                      <a:srgbClr val="FFFFFF"/>
                    </a:solidFill>
                    <a:prstDash val="solid"/>
                    <a:miter lim="800000"/>
                  </a:ln>
                  <a:effectLst>
                    <a:outerShdw blurRad="127000" dist="63500" dir="2700000" algn="tl" rotWithShape="0">
                      <a:srgbClr val="C8C8C8">
                        <a:alpha val="15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/>
                      <a:ea typeface="华文楷体"/>
                      <a:cs typeface="+mn-cs"/>
                    </a:endParaRPr>
                  </a:p>
                </p:txBody>
              </p:sp>
              <p:sp>
                <p:nvSpPr>
                  <p:cNvPr id="42" name="文本框 41">
                    <a:extLst>
                      <a:ext uri="{FF2B5EF4-FFF2-40B4-BE49-F238E27FC236}">
                        <a16:creationId xmlns="" xmlns:a16="http://schemas.microsoft.com/office/drawing/2014/main" id="{92BA72D0-7BD4-3DEA-4DE5-151863C0A7FB}"/>
                      </a:ext>
                    </a:extLst>
                  </p:cNvPr>
                  <p:cNvSpPr txBox="1"/>
                  <p:nvPr/>
                </p:nvSpPr>
                <p:spPr>
                  <a:xfrm>
                    <a:off x="9365536" y="4106875"/>
                    <a:ext cx="782586" cy="1015663"/>
                  </a:xfrm>
                  <a:prstGeom prst="rect">
                    <a:avLst/>
                  </a:prstGeom>
                  <a:noFill/>
                </p:spPr>
                <p:txBody>
                  <a:bodyPr wrap="none">
                    <a:normAutofit lnSpcReduction="10000"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6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V</a:t>
                    </a:r>
                    <a:r>
                      <a:rPr kumimoji="0" lang="en-US" altLang="zh-CN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 aluation</a:t>
                    </a: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华文楷体" panose="02010600040101010101" pitchFamily="2" charset="-122"/>
                    </a:endParaRPr>
                  </a:p>
                </p:txBody>
              </p:sp>
            </p:grpSp>
            <p:grpSp>
              <p:nvGrpSpPr>
                <p:cNvPr id="38" name="组合 37">
                  <a:extLst>
                    <a:ext uri="{FF2B5EF4-FFF2-40B4-BE49-F238E27FC236}">
                      <a16:creationId xmlns="" xmlns:a16="http://schemas.microsoft.com/office/drawing/2014/main" id="{A952D8A5-F73A-AF11-1EF0-10240D3AAA06}"/>
                    </a:ext>
                  </a:extLst>
                </p:cNvPr>
                <p:cNvGrpSpPr/>
                <p:nvPr/>
              </p:nvGrpSpPr>
              <p:grpSpPr>
                <a:xfrm>
                  <a:off x="6757354" y="2805757"/>
                  <a:ext cx="2509288" cy="2473248"/>
                  <a:chOff x="6757354" y="2805757"/>
                  <a:chExt cx="2509288" cy="2473248"/>
                </a:xfrm>
              </p:grpSpPr>
              <p:sp>
                <p:nvSpPr>
                  <p:cNvPr id="39" name="任意多边形: 形状 38">
                    <a:extLst>
                      <a:ext uri="{FF2B5EF4-FFF2-40B4-BE49-F238E27FC236}">
                        <a16:creationId xmlns="" xmlns:a16="http://schemas.microsoft.com/office/drawing/2014/main" id="{AEBFC19B-5CF8-82AF-BD07-D05D728C307A}"/>
                      </a:ext>
                    </a:extLst>
                  </p:cNvPr>
                  <p:cNvSpPr/>
                  <p:nvPr/>
                </p:nvSpPr>
                <p:spPr bwMode="auto">
                  <a:xfrm rot="13978264">
                    <a:off x="6775374" y="2787737"/>
                    <a:ext cx="2473248" cy="2509288"/>
                  </a:xfrm>
                  <a:custGeom>
                    <a:avLst/>
                    <a:gdLst>
                      <a:gd name="T0" fmla="*/ 3563 w 10688"/>
                      <a:gd name="T1" fmla="*/ 7062 h 10844"/>
                      <a:gd name="T2" fmla="*/ 3563 w 10688"/>
                      <a:gd name="T3" fmla="*/ 7062 h 10844"/>
                      <a:gd name="T4" fmla="*/ 4563 w 10688"/>
                      <a:gd name="T5" fmla="*/ 10749 h 10844"/>
                      <a:gd name="T6" fmla="*/ 7937 w 10688"/>
                      <a:gd name="T7" fmla="*/ 9812 h 10844"/>
                      <a:gd name="T8" fmla="*/ 9062 w 10688"/>
                      <a:gd name="T9" fmla="*/ 2782 h 10844"/>
                      <a:gd name="T10" fmla="*/ 2032 w 10688"/>
                      <a:gd name="T11" fmla="*/ 1626 h 10844"/>
                      <a:gd name="T12" fmla="*/ 0 w 10688"/>
                      <a:gd name="T13" fmla="*/ 4907 h 10844"/>
                      <a:gd name="T14" fmla="*/ 3563 w 10688"/>
                      <a:gd name="T15" fmla="*/ 7062 h 108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688" h="10844">
                        <a:moveTo>
                          <a:pt x="3563" y="7062"/>
                        </a:moveTo>
                        <a:lnTo>
                          <a:pt x="3563" y="7062"/>
                        </a:lnTo>
                        <a:cubicBezTo>
                          <a:pt x="4375" y="8187"/>
                          <a:pt x="4688" y="9500"/>
                          <a:pt x="4563" y="10749"/>
                        </a:cubicBezTo>
                        <a:cubicBezTo>
                          <a:pt x="5718" y="10843"/>
                          <a:pt x="6906" y="10562"/>
                          <a:pt x="7937" y="9812"/>
                        </a:cubicBezTo>
                        <a:cubicBezTo>
                          <a:pt x="10187" y="8187"/>
                          <a:pt x="10687" y="5032"/>
                          <a:pt x="9062" y="2782"/>
                        </a:cubicBezTo>
                        <a:cubicBezTo>
                          <a:pt x="7437" y="500"/>
                          <a:pt x="4282" y="0"/>
                          <a:pt x="2032" y="1626"/>
                        </a:cubicBezTo>
                        <a:cubicBezTo>
                          <a:pt x="907" y="2438"/>
                          <a:pt x="219" y="3657"/>
                          <a:pt x="0" y="4907"/>
                        </a:cubicBezTo>
                        <a:cubicBezTo>
                          <a:pt x="1375" y="5126"/>
                          <a:pt x="2688" y="5843"/>
                          <a:pt x="3563" y="7062"/>
                        </a:cubicBezTo>
                      </a:path>
                    </a:pathLst>
                  </a:custGeom>
                  <a:gradFill flip="none" rotWithShape="1">
                    <a:gsLst>
                      <a:gs pos="0">
                        <a:srgbClr val="8E1515">
                          <a:lumMod val="60000"/>
                          <a:lumOff val="40000"/>
                        </a:srgbClr>
                      </a:gs>
                      <a:gs pos="75000">
                        <a:srgbClr val="8E1515"/>
                      </a:gs>
                    </a:gsLst>
                    <a:lin ang="2700000" scaled="1"/>
                    <a:tileRect/>
                  </a:gradFill>
                  <a:ln w="12700" cap="flat" cmpd="sng" algn="ctr">
                    <a:solidFill>
                      <a:srgbClr val="FFFFFF"/>
                    </a:solidFill>
                    <a:prstDash val="solid"/>
                    <a:miter lim="800000"/>
                  </a:ln>
                  <a:effectLst>
                    <a:outerShdw blurRad="127000" dist="63500" dir="2700000" algn="tl" rotWithShape="0">
                      <a:srgbClr val="8E1515">
                        <a:alpha val="15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/>
                      <a:ea typeface="华文楷体"/>
                      <a:cs typeface="+mn-cs"/>
                    </a:endParaRPr>
                  </a:p>
                </p:txBody>
              </p:sp>
              <p:sp>
                <p:nvSpPr>
                  <p:cNvPr id="40" name="文本框 39">
                    <a:extLst>
                      <a:ext uri="{FF2B5EF4-FFF2-40B4-BE49-F238E27FC236}">
                        <a16:creationId xmlns="" xmlns:a16="http://schemas.microsoft.com/office/drawing/2014/main" id="{94309ECB-1CB8-905E-448C-D897B400304D}"/>
                      </a:ext>
                    </a:extLst>
                  </p:cNvPr>
                  <p:cNvSpPr txBox="1"/>
                  <p:nvPr/>
                </p:nvSpPr>
                <p:spPr>
                  <a:xfrm>
                    <a:off x="7596596" y="3525309"/>
                    <a:ext cx="654344" cy="1015663"/>
                  </a:xfrm>
                  <a:prstGeom prst="rect">
                    <a:avLst/>
                  </a:prstGeom>
                  <a:noFill/>
                </p:spPr>
                <p:txBody>
                  <a:bodyPr wrap="none">
                    <a:normAutofit lnSpcReduction="10000"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6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L</a:t>
                    </a:r>
                    <a:r>
                      <a:rPr kumimoji="0" lang="en-US" altLang="zh-CN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iquidity</a:t>
                    </a:r>
                    <a:endParaRPr kumimoji="0" lang="en-US" sz="6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华文楷体" panose="02010600040101010101" pitchFamily="2" charset="-122"/>
                    </a:endParaRPr>
                  </a:p>
                </p:txBody>
              </p:sp>
            </p:grpSp>
          </p:grpSp>
        </p:grpSp>
        <p:sp>
          <p:nvSpPr>
            <p:cNvPr id="30" name="矩形 29">
              <a:extLst>
                <a:ext uri="{FF2B5EF4-FFF2-40B4-BE49-F238E27FC236}">
                  <a16:creationId xmlns="" xmlns:a16="http://schemas.microsoft.com/office/drawing/2014/main" id="{8A7E93B8-78D9-C271-E5DA-FF63BF862E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5546" y="1162024"/>
              <a:ext cx="10858500" cy="65758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rtlCol="0" anchor="ctr" anchorCtr="0"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tabLst/>
                <a:defRPr/>
              </a:pPr>
              <a:endPara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ndara" panose="020E0502030303020204" pitchFamily="34" charset="0"/>
                <a:ea typeface="华文楷体" panose="0201060004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0516099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10941DE5-6494-4C4E-109D-DB79C738E4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="" xmlns:a16="http://schemas.microsoft.com/office/drawing/2014/main" id="{F4B8FF25-A45B-67B6-4C1E-F0F03838E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="" xmlns:a16="http://schemas.microsoft.com/office/drawing/2014/main" id="{DD30B0F5-574A-1F99-AFAC-B94C4BFA2A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60</a:t>
            </a: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日均线上方个股占比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3E52FA0F-87A6-4C33-1AF4-7C8A26C4A30C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强势股占比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36.93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当前信号为中性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478803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3AD1CDC2-AE48-6F6C-5B4E-1F6A6E0A8C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="" xmlns:a16="http://schemas.microsoft.com/office/drawing/2014/main" id="{2606AF32-45F5-D101-D16A-D7290C40E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="" xmlns:a16="http://schemas.microsoft.com/office/drawing/2014/main" id="{4CA4576A-5905-4687-C91A-71515F8954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涨停数量占比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65916EFC-30ED-40B5-DD9B-EA720CEBEC9B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涨停数量占比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.43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当前信号为中性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。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100679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1_Office 主题​​">
  <a:themeElements>
    <a:clrScheme name="Office 主题​​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C3649"/>
      </a:accent1>
      <a:accent2>
        <a:srgbClr val="6A868F"/>
      </a:accent2>
      <a:accent3>
        <a:srgbClr val="31778D"/>
      </a:accent3>
      <a:accent4>
        <a:srgbClr val="D6C88B"/>
      </a:accent4>
      <a:accent5>
        <a:srgbClr val="D66E49"/>
      </a:accent5>
      <a:accent6>
        <a:srgbClr val="649EB2"/>
      </a:accent6>
      <a:hlink>
        <a:srgbClr val="0000FF"/>
      </a:hlink>
      <a:folHlink>
        <a:srgbClr val="FF00FF"/>
      </a:folHlink>
    </a:clrScheme>
    <a:fontScheme name="5ahktbec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2438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2438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_White">
  <a:themeElements>
    <a:clrScheme name="Custom 2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C00000"/>
      </a:accent1>
      <a:accent2>
        <a:srgbClr val="6F2926"/>
      </a:accent2>
      <a:accent3>
        <a:srgbClr val="CF7875"/>
      </a:accent3>
      <a:accent4>
        <a:srgbClr val="E5B4B2"/>
      </a:accent4>
      <a:accent5>
        <a:srgbClr val="F4E1E0"/>
      </a:accent5>
      <a:accent6>
        <a:srgbClr val="FFD147"/>
      </a:accent6>
      <a:hlink>
        <a:srgbClr val="0000FF"/>
      </a:hlink>
      <a:folHlink>
        <a:srgbClr val="800080"/>
      </a:folHlink>
    </a:clrScheme>
    <a:fontScheme name="Custom 317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4A1B19"/>
        </a:accent1>
        <a:accent2>
          <a:srgbClr val="6F2926"/>
        </a:accent2>
        <a:accent3>
          <a:srgbClr val="CF7875"/>
        </a:accent3>
        <a:accent4>
          <a:srgbClr val="E5B4B2"/>
        </a:accent4>
        <a:accent5>
          <a:srgbClr val="F4E1E0"/>
        </a:accent5>
        <a:accent6>
          <a:srgbClr val="FFD14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scarlett Lin.potx" id="{DA3DAAC1-59D6-498E-AA2D-BAFB318DA648}" vid="{144B9AF7-3219-45B9-B3E1-112F2C81400F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1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04098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自定义 1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04098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长江">
    <a:dk1>
      <a:sysClr val="windowText" lastClr="000000"/>
    </a:dk1>
    <a:lt1>
      <a:sysClr val="window" lastClr="FFFFFF"/>
    </a:lt1>
    <a:dk2>
      <a:srgbClr val="004678"/>
    </a:dk2>
    <a:lt2>
      <a:srgbClr val="EEECE1"/>
    </a:lt2>
    <a:accent1>
      <a:srgbClr val="E10000"/>
    </a:accent1>
    <a:accent2>
      <a:srgbClr val="595959"/>
    </a:accent2>
    <a:accent3>
      <a:srgbClr val="DCB464"/>
    </a:accent3>
    <a:accent4>
      <a:srgbClr val="BFBFBF"/>
    </a:accent4>
    <a:accent5>
      <a:srgbClr val="FFC000"/>
    </a:accent5>
    <a:accent6>
      <a:srgbClr val="F3973E"/>
    </a:accent6>
    <a:hlink>
      <a:srgbClr val="CC9900"/>
    </a:hlink>
    <a:folHlink>
      <a:srgbClr val="7F7F7F"/>
    </a:folHlink>
  </a:clrScheme>
  <a:fontScheme name="长江_word">
    <a:majorFont>
      <a:latin typeface="Arial"/>
      <a:ea typeface="STXihei"/>
      <a:cs typeface=""/>
    </a:majorFont>
    <a:minorFont>
      <a:latin typeface="Arial"/>
      <a:ea typeface="STXihe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7168</TotalTime>
  <Words>783</Words>
  <Application>Microsoft Office PowerPoint</Application>
  <PresentationFormat>宽屏</PresentationFormat>
  <Paragraphs>87</Paragraphs>
  <Slides>15</Slides>
  <Notes>15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31" baseType="lpstr">
      <vt:lpstr>等线</vt:lpstr>
      <vt:lpstr>仿宋_GB2312</vt:lpstr>
      <vt:lpstr>华文楷体</vt:lpstr>
      <vt:lpstr>楷体</vt:lpstr>
      <vt:lpstr>宋体</vt:lpstr>
      <vt:lpstr>Microsoft YaHei</vt:lpstr>
      <vt:lpstr>Microsoft YaHei</vt:lpstr>
      <vt:lpstr>Arial</vt:lpstr>
      <vt:lpstr>Candara</vt:lpstr>
      <vt:lpstr>Georgia</vt:lpstr>
      <vt:lpstr>Helvetica</vt:lpstr>
      <vt:lpstr>Segoe UI</vt:lpstr>
      <vt:lpstr>Wingdings</vt:lpstr>
      <vt:lpstr>1_Office 主题​​</vt:lpstr>
      <vt:lpstr>2_White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张 蓉蓉</dc:creator>
  <cp:lastModifiedBy>丁皓晨</cp:lastModifiedBy>
  <cp:revision>624</cp:revision>
  <dcterms:created xsi:type="dcterms:W3CDTF">2024-11-25T11:58:13Z</dcterms:created>
  <dcterms:modified xsi:type="dcterms:W3CDTF">2025-12-08T02:21:35Z</dcterms:modified>
</cp:coreProperties>
</file>